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72" r:id="rId1"/>
  </p:sldMasterIdLst>
  <p:sldIdLst>
    <p:sldId id="256" r:id="rId2"/>
    <p:sldId id="257" r:id="rId3"/>
    <p:sldId id="258" r:id="rId4"/>
  </p:sldIdLst>
  <p:sldSz cx="12187238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39" userDrawn="1">
          <p15:clr>
            <a:srgbClr val="A4A3A4"/>
          </p15:clr>
        </p15:guide>
        <p15:guide id="3" pos="210" userDrawn="1">
          <p15:clr>
            <a:srgbClr val="A4A3A4"/>
          </p15:clr>
        </p15:guide>
        <p15:guide id="4" pos="7467" userDrawn="1">
          <p15:clr>
            <a:srgbClr val="A4A3A4"/>
          </p15:clr>
        </p15:guide>
        <p15:guide id="5" orient="horz" pos="799" userDrawn="1">
          <p15:clr>
            <a:srgbClr val="A4A3A4"/>
          </p15:clr>
        </p15:guide>
        <p15:guide id="6" orient="horz" pos="397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64" autoAdjust="0"/>
    <p:restoredTop sz="94660"/>
  </p:normalViewPr>
  <p:slideViewPr>
    <p:cSldViewPr snapToGrid="0" showGuides="1">
      <p:cViewPr>
        <p:scale>
          <a:sx n="100" d="100"/>
          <a:sy n="100" d="100"/>
        </p:scale>
        <p:origin x="450" y="342"/>
      </p:cViewPr>
      <p:guideLst>
        <p:guide orient="horz" pos="2160"/>
        <p:guide pos="3839"/>
        <p:guide pos="210"/>
        <p:guide pos="7467"/>
        <p:guide orient="horz" pos="799"/>
        <p:guide orient="horz" pos="397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jpg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25"/>
          <p:cNvSpPr/>
          <p:nvPr/>
        </p:nvSpPr>
        <p:spPr bwMode="auto">
          <a:xfrm>
            <a:off x="-11906" y="-14400"/>
            <a:ext cx="12215810" cy="6857894"/>
          </a:xfrm>
          <a:custGeom>
            <a:avLst/>
            <a:gdLst>
              <a:gd name="connsiteX0" fmla="*/ 9083040 w 9972668"/>
              <a:gd name="connsiteY0" fmla="*/ 4874676 h 6924674"/>
              <a:gd name="connsiteX1" fmla="*/ 9928860 w 9972668"/>
              <a:gd name="connsiteY1" fmla="*/ 4874676 h 6924674"/>
              <a:gd name="connsiteX2" fmla="*/ 9928860 w 9972668"/>
              <a:gd name="connsiteY2" fmla="*/ 6924674 h 6924674"/>
              <a:gd name="connsiteX3" fmla="*/ 9921239 w 9972668"/>
              <a:gd name="connsiteY3" fmla="*/ 6924674 h 6924674"/>
              <a:gd name="connsiteX4" fmla="*/ 9083040 w 9972668"/>
              <a:gd name="connsiteY4" fmla="*/ 6924674 h 6924674"/>
              <a:gd name="connsiteX5" fmla="*/ 6776166 w 9972668"/>
              <a:gd name="connsiteY5" fmla="*/ 6924674 h 6924674"/>
              <a:gd name="connsiteX6" fmla="*/ 5825556 w 9972668"/>
              <a:gd name="connsiteY6" fmla="*/ 6924674 h 6924674"/>
              <a:gd name="connsiteX7" fmla="*/ 5825555 w 9972668"/>
              <a:gd name="connsiteY7" fmla="*/ 6924674 h 6924674"/>
              <a:gd name="connsiteX8" fmla="*/ 0 w 9972668"/>
              <a:gd name="connsiteY8" fmla="*/ 6924674 h 6924674"/>
              <a:gd name="connsiteX9" fmla="*/ 0 w 9972668"/>
              <a:gd name="connsiteY9" fmla="*/ 4878161 h 6924674"/>
              <a:gd name="connsiteX10" fmla="*/ 5825556 w 9972668"/>
              <a:gd name="connsiteY10" fmla="*/ 4878161 h 6924674"/>
              <a:gd name="connsiteX11" fmla="*/ 5825556 w 9972668"/>
              <a:gd name="connsiteY11" fmla="*/ 5804668 h 6924674"/>
              <a:gd name="connsiteX12" fmla="*/ 6776166 w 9972668"/>
              <a:gd name="connsiteY12" fmla="*/ 5804668 h 6924674"/>
              <a:gd name="connsiteX13" fmla="*/ 6776166 w 9972668"/>
              <a:gd name="connsiteY13" fmla="*/ 4878176 h 6924674"/>
              <a:gd name="connsiteX14" fmla="*/ 9083040 w 9972668"/>
              <a:gd name="connsiteY14" fmla="*/ 4878176 h 6924674"/>
              <a:gd name="connsiteX15" fmla="*/ 9083040 w 9972668"/>
              <a:gd name="connsiteY15" fmla="*/ 4874676 h 6924674"/>
              <a:gd name="connsiteX16" fmla="*/ 7619 w 9972668"/>
              <a:gd name="connsiteY16" fmla="*/ 0 h 6924674"/>
              <a:gd name="connsiteX17" fmla="*/ 9928860 w 9972668"/>
              <a:gd name="connsiteY17" fmla="*/ 0 h 6924674"/>
              <a:gd name="connsiteX18" fmla="*/ 9972668 w 9972668"/>
              <a:gd name="connsiteY18" fmla="*/ 1693003 h 6924674"/>
              <a:gd name="connsiteX19" fmla="*/ 7619 w 9972668"/>
              <a:gd name="connsiteY19" fmla="*/ 2054310 h 6924674"/>
              <a:gd name="connsiteX20" fmla="*/ 7619 w 9972668"/>
              <a:gd name="connsiteY20" fmla="*/ 0 h 6924674"/>
              <a:gd name="connsiteX0" fmla="*/ 9083040 w 9928860"/>
              <a:gd name="connsiteY0" fmla="*/ 4874676 h 6924674"/>
              <a:gd name="connsiteX1" fmla="*/ 9928860 w 9928860"/>
              <a:gd name="connsiteY1" fmla="*/ 4874676 h 6924674"/>
              <a:gd name="connsiteX2" fmla="*/ 9928860 w 9928860"/>
              <a:gd name="connsiteY2" fmla="*/ 6924674 h 6924674"/>
              <a:gd name="connsiteX3" fmla="*/ 9921239 w 9928860"/>
              <a:gd name="connsiteY3" fmla="*/ 6924674 h 6924674"/>
              <a:gd name="connsiteX4" fmla="*/ 9083040 w 9928860"/>
              <a:gd name="connsiteY4" fmla="*/ 6924674 h 6924674"/>
              <a:gd name="connsiteX5" fmla="*/ 6776166 w 9928860"/>
              <a:gd name="connsiteY5" fmla="*/ 6924674 h 6924674"/>
              <a:gd name="connsiteX6" fmla="*/ 5825556 w 9928860"/>
              <a:gd name="connsiteY6" fmla="*/ 6924674 h 6924674"/>
              <a:gd name="connsiteX7" fmla="*/ 5825555 w 9928860"/>
              <a:gd name="connsiteY7" fmla="*/ 6924674 h 6924674"/>
              <a:gd name="connsiteX8" fmla="*/ 0 w 9928860"/>
              <a:gd name="connsiteY8" fmla="*/ 6924674 h 6924674"/>
              <a:gd name="connsiteX9" fmla="*/ 0 w 9928860"/>
              <a:gd name="connsiteY9" fmla="*/ 4878161 h 6924674"/>
              <a:gd name="connsiteX10" fmla="*/ 5825556 w 9928860"/>
              <a:gd name="connsiteY10" fmla="*/ 4878161 h 6924674"/>
              <a:gd name="connsiteX11" fmla="*/ 5825556 w 9928860"/>
              <a:gd name="connsiteY11" fmla="*/ 5804668 h 6924674"/>
              <a:gd name="connsiteX12" fmla="*/ 6776166 w 9928860"/>
              <a:gd name="connsiteY12" fmla="*/ 5804668 h 6924674"/>
              <a:gd name="connsiteX13" fmla="*/ 6776166 w 9928860"/>
              <a:gd name="connsiteY13" fmla="*/ 4878176 h 6924674"/>
              <a:gd name="connsiteX14" fmla="*/ 9083040 w 9928860"/>
              <a:gd name="connsiteY14" fmla="*/ 4878176 h 6924674"/>
              <a:gd name="connsiteX15" fmla="*/ 9083040 w 9928860"/>
              <a:gd name="connsiteY15" fmla="*/ 4874676 h 6924674"/>
              <a:gd name="connsiteX16" fmla="*/ 7619 w 9928860"/>
              <a:gd name="connsiteY16" fmla="*/ 0 h 6924674"/>
              <a:gd name="connsiteX17" fmla="*/ 9928860 w 9928860"/>
              <a:gd name="connsiteY17" fmla="*/ 0 h 6924674"/>
              <a:gd name="connsiteX18" fmla="*/ 9928860 w 9928860"/>
              <a:gd name="connsiteY18" fmla="*/ 2087156 h 6924674"/>
              <a:gd name="connsiteX19" fmla="*/ 7619 w 9928860"/>
              <a:gd name="connsiteY19" fmla="*/ 2054310 h 6924674"/>
              <a:gd name="connsiteX20" fmla="*/ 7619 w 9928860"/>
              <a:gd name="connsiteY20" fmla="*/ 0 h 6924674"/>
              <a:gd name="connsiteX0" fmla="*/ 9083040 w 9928860"/>
              <a:gd name="connsiteY0" fmla="*/ 4874676 h 6924674"/>
              <a:gd name="connsiteX1" fmla="*/ 9928860 w 9928860"/>
              <a:gd name="connsiteY1" fmla="*/ 4874676 h 6924674"/>
              <a:gd name="connsiteX2" fmla="*/ 9928860 w 9928860"/>
              <a:gd name="connsiteY2" fmla="*/ 6924674 h 6924674"/>
              <a:gd name="connsiteX3" fmla="*/ 9921239 w 9928860"/>
              <a:gd name="connsiteY3" fmla="*/ 6924674 h 6924674"/>
              <a:gd name="connsiteX4" fmla="*/ 9083040 w 9928860"/>
              <a:gd name="connsiteY4" fmla="*/ 6924674 h 6924674"/>
              <a:gd name="connsiteX5" fmla="*/ 6776166 w 9928860"/>
              <a:gd name="connsiteY5" fmla="*/ 6924674 h 6924674"/>
              <a:gd name="connsiteX6" fmla="*/ 5825556 w 9928860"/>
              <a:gd name="connsiteY6" fmla="*/ 6924674 h 6924674"/>
              <a:gd name="connsiteX7" fmla="*/ 5825555 w 9928860"/>
              <a:gd name="connsiteY7" fmla="*/ 6924674 h 6924674"/>
              <a:gd name="connsiteX8" fmla="*/ 0 w 9928860"/>
              <a:gd name="connsiteY8" fmla="*/ 6924674 h 6924674"/>
              <a:gd name="connsiteX9" fmla="*/ 0 w 9928860"/>
              <a:gd name="connsiteY9" fmla="*/ 4878161 h 6924674"/>
              <a:gd name="connsiteX10" fmla="*/ 5825556 w 9928860"/>
              <a:gd name="connsiteY10" fmla="*/ 4878161 h 6924674"/>
              <a:gd name="connsiteX11" fmla="*/ 5825556 w 9928860"/>
              <a:gd name="connsiteY11" fmla="*/ 5804668 h 6924674"/>
              <a:gd name="connsiteX12" fmla="*/ 6776166 w 9928860"/>
              <a:gd name="connsiteY12" fmla="*/ 5804668 h 6924674"/>
              <a:gd name="connsiteX13" fmla="*/ 6776166 w 9928860"/>
              <a:gd name="connsiteY13" fmla="*/ 4878176 h 6924674"/>
              <a:gd name="connsiteX14" fmla="*/ 9083040 w 9928860"/>
              <a:gd name="connsiteY14" fmla="*/ 4878176 h 6924674"/>
              <a:gd name="connsiteX15" fmla="*/ 9083040 w 9928860"/>
              <a:gd name="connsiteY15" fmla="*/ 4874676 h 6924674"/>
              <a:gd name="connsiteX16" fmla="*/ 7619 w 9928860"/>
              <a:gd name="connsiteY16" fmla="*/ 0 h 6924674"/>
              <a:gd name="connsiteX17" fmla="*/ 9928860 w 9928860"/>
              <a:gd name="connsiteY17" fmla="*/ 0 h 6924674"/>
              <a:gd name="connsiteX18" fmla="*/ 9928860 w 9928860"/>
              <a:gd name="connsiteY18" fmla="*/ 2087156 h 6924674"/>
              <a:gd name="connsiteX19" fmla="*/ 7619 w 9928860"/>
              <a:gd name="connsiteY19" fmla="*/ 2082429 h 6924674"/>
              <a:gd name="connsiteX20" fmla="*/ 7619 w 9928860"/>
              <a:gd name="connsiteY20" fmla="*/ 0 h 6924674"/>
              <a:gd name="connsiteX0" fmla="*/ 9086659 w 9932479"/>
              <a:gd name="connsiteY0" fmla="*/ 4874676 h 6924674"/>
              <a:gd name="connsiteX1" fmla="*/ 9932479 w 9932479"/>
              <a:gd name="connsiteY1" fmla="*/ 4874676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78161 h 6924674"/>
              <a:gd name="connsiteX11" fmla="*/ 5829175 w 9932479"/>
              <a:gd name="connsiteY11" fmla="*/ 5804668 h 6924674"/>
              <a:gd name="connsiteX12" fmla="*/ 6779785 w 9932479"/>
              <a:gd name="connsiteY12" fmla="*/ 5804668 h 6924674"/>
              <a:gd name="connsiteX13" fmla="*/ 6779785 w 9932479"/>
              <a:gd name="connsiteY13" fmla="*/ 4878176 h 6924674"/>
              <a:gd name="connsiteX14" fmla="*/ 9086659 w 9932479"/>
              <a:gd name="connsiteY14" fmla="*/ 4878176 h 6924674"/>
              <a:gd name="connsiteX15" fmla="*/ 9086659 w 9932479"/>
              <a:gd name="connsiteY15" fmla="*/ 4874676 h 6924674"/>
              <a:gd name="connsiteX16" fmla="*/ 11238 w 9932479"/>
              <a:gd name="connsiteY16" fmla="*/ 0 h 6924674"/>
              <a:gd name="connsiteX17" fmla="*/ 9932479 w 9932479"/>
              <a:gd name="connsiteY17" fmla="*/ 0 h 6924674"/>
              <a:gd name="connsiteX18" fmla="*/ 9932479 w 9932479"/>
              <a:gd name="connsiteY18" fmla="*/ 2087156 h 6924674"/>
              <a:gd name="connsiteX19" fmla="*/ 11238 w 9932479"/>
              <a:gd name="connsiteY19" fmla="*/ 2082429 h 6924674"/>
              <a:gd name="connsiteX20" fmla="*/ 11238 w 9932479"/>
              <a:gd name="connsiteY20" fmla="*/ 0 h 6924674"/>
              <a:gd name="connsiteX0" fmla="*/ 9086659 w 9932479"/>
              <a:gd name="connsiteY0" fmla="*/ 4874676 h 6924674"/>
              <a:gd name="connsiteX1" fmla="*/ 9932479 w 9932479"/>
              <a:gd name="connsiteY1" fmla="*/ 4874676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04668 h 6924674"/>
              <a:gd name="connsiteX12" fmla="*/ 6779785 w 9932479"/>
              <a:gd name="connsiteY12" fmla="*/ 5804668 h 6924674"/>
              <a:gd name="connsiteX13" fmla="*/ 6779785 w 9932479"/>
              <a:gd name="connsiteY13" fmla="*/ 4878176 h 6924674"/>
              <a:gd name="connsiteX14" fmla="*/ 9086659 w 9932479"/>
              <a:gd name="connsiteY14" fmla="*/ 4878176 h 6924674"/>
              <a:gd name="connsiteX15" fmla="*/ 9086659 w 9932479"/>
              <a:gd name="connsiteY15" fmla="*/ 4874676 h 6924674"/>
              <a:gd name="connsiteX16" fmla="*/ 11238 w 9932479"/>
              <a:gd name="connsiteY16" fmla="*/ 0 h 6924674"/>
              <a:gd name="connsiteX17" fmla="*/ 9932479 w 9932479"/>
              <a:gd name="connsiteY17" fmla="*/ 0 h 6924674"/>
              <a:gd name="connsiteX18" fmla="*/ 9932479 w 9932479"/>
              <a:gd name="connsiteY18" fmla="*/ 2087156 h 6924674"/>
              <a:gd name="connsiteX19" fmla="*/ 11238 w 9932479"/>
              <a:gd name="connsiteY19" fmla="*/ 2082429 h 6924674"/>
              <a:gd name="connsiteX20" fmla="*/ 11238 w 9932479"/>
              <a:gd name="connsiteY20" fmla="*/ 0 h 6924674"/>
              <a:gd name="connsiteX0" fmla="*/ 9086659 w 9932479"/>
              <a:gd name="connsiteY0" fmla="*/ 4874676 h 6924674"/>
              <a:gd name="connsiteX1" fmla="*/ 9932479 w 9932479"/>
              <a:gd name="connsiteY1" fmla="*/ 4874676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04668 h 6924674"/>
              <a:gd name="connsiteX12" fmla="*/ 6779785 w 9932479"/>
              <a:gd name="connsiteY12" fmla="*/ 5804668 h 6924674"/>
              <a:gd name="connsiteX13" fmla="*/ 6779786 w 9932479"/>
              <a:gd name="connsiteY13" fmla="*/ 4856466 h 6924674"/>
              <a:gd name="connsiteX14" fmla="*/ 9086659 w 9932479"/>
              <a:gd name="connsiteY14" fmla="*/ 4878176 h 6924674"/>
              <a:gd name="connsiteX15" fmla="*/ 9086659 w 9932479"/>
              <a:gd name="connsiteY15" fmla="*/ 4874676 h 6924674"/>
              <a:gd name="connsiteX16" fmla="*/ 11238 w 9932479"/>
              <a:gd name="connsiteY16" fmla="*/ 0 h 6924674"/>
              <a:gd name="connsiteX17" fmla="*/ 9932479 w 9932479"/>
              <a:gd name="connsiteY17" fmla="*/ 0 h 6924674"/>
              <a:gd name="connsiteX18" fmla="*/ 9932479 w 9932479"/>
              <a:gd name="connsiteY18" fmla="*/ 2087156 h 6924674"/>
              <a:gd name="connsiteX19" fmla="*/ 11238 w 9932479"/>
              <a:gd name="connsiteY19" fmla="*/ 2082429 h 6924674"/>
              <a:gd name="connsiteX20" fmla="*/ 11238 w 9932479"/>
              <a:gd name="connsiteY20" fmla="*/ 0 h 6924674"/>
              <a:gd name="connsiteX0" fmla="*/ 9086659 w 9932479"/>
              <a:gd name="connsiteY0" fmla="*/ 4874676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04668 h 6924674"/>
              <a:gd name="connsiteX12" fmla="*/ 6779785 w 9932479"/>
              <a:gd name="connsiteY12" fmla="*/ 5804668 h 6924674"/>
              <a:gd name="connsiteX13" fmla="*/ 6779786 w 9932479"/>
              <a:gd name="connsiteY13" fmla="*/ 4856466 h 6924674"/>
              <a:gd name="connsiteX14" fmla="*/ 9086659 w 9932479"/>
              <a:gd name="connsiteY14" fmla="*/ 4878176 h 6924674"/>
              <a:gd name="connsiteX15" fmla="*/ 9086659 w 9932479"/>
              <a:gd name="connsiteY15" fmla="*/ 4874676 h 6924674"/>
              <a:gd name="connsiteX16" fmla="*/ 11238 w 9932479"/>
              <a:gd name="connsiteY16" fmla="*/ 0 h 6924674"/>
              <a:gd name="connsiteX17" fmla="*/ 9932479 w 9932479"/>
              <a:gd name="connsiteY17" fmla="*/ 0 h 6924674"/>
              <a:gd name="connsiteX18" fmla="*/ 9932479 w 9932479"/>
              <a:gd name="connsiteY18" fmla="*/ 2087156 h 6924674"/>
              <a:gd name="connsiteX19" fmla="*/ 11238 w 9932479"/>
              <a:gd name="connsiteY19" fmla="*/ 2082429 h 6924674"/>
              <a:gd name="connsiteX20" fmla="*/ 11238 w 9932479"/>
              <a:gd name="connsiteY20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04668 h 6924674"/>
              <a:gd name="connsiteX12" fmla="*/ 6779785 w 9932479"/>
              <a:gd name="connsiteY12" fmla="*/ 5804668 h 6924674"/>
              <a:gd name="connsiteX13" fmla="*/ 6779786 w 9932479"/>
              <a:gd name="connsiteY13" fmla="*/ 4856466 h 6924674"/>
              <a:gd name="connsiteX14" fmla="*/ 9086659 w 9932479"/>
              <a:gd name="connsiteY14" fmla="*/ 4878176 h 6924674"/>
              <a:gd name="connsiteX15" fmla="*/ 9086659 w 9932479"/>
              <a:gd name="connsiteY15" fmla="*/ 4856585 h 6924674"/>
              <a:gd name="connsiteX16" fmla="*/ 11238 w 9932479"/>
              <a:gd name="connsiteY16" fmla="*/ 0 h 6924674"/>
              <a:gd name="connsiteX17" fmla="*/ 9932479 w 9932479"/>
              <a:gd name="connsiteY17" fmla="*/ 0 h 6924674"/>
              <a:gd name="connsiteX18" fmla="*/ 9932479 w 9932479"/>
              <a:gd name="connsiteY18" fmla="*/ 2087156 h 6924674"/>
              <a:gd name="connsiteX19" fmla="*/ 11238 w 9932479"/>
              <a:gd name="connsiteY19" fmla="*/ 2082429 h 6924674"/>
              <a:gd name="connsiteX20" fmla="*/ 11238 w 9932479"/>
              <a:gd name="connsiteY20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04668 h 6924674"/>
              <a:gd name="connsiteX12" fmla="*/ 6779785 w 9932479"/>
              <a:gd name="connsiteY12" fmla="*/ 5804668 h 6924674"/>
              <a:gd name="connsiteX13" fmla="*/ 6779786 w 9932479"/>
              <a:gd name="connsiteY13" fmla="*/ 4856466 h 6924674"/>
              <a:gd name="connsiteX14" fmla="*/ 8652325 w 9932479"/>
              <a:gd name="connsiteY14" fmla="*/ 5171257 h 6924674"/>
              <a:gd name="connsiteX15" fmla="*/ 9086659 w 9932479"/>
              <a:gd name="connsiteY15" fmla="*/ 4856585 h 6924674"/>
              <a:gd name="connsiteX16" fmla="*/ 11238 w 9932479"/>
              <a:gd name="connsiteY16" fmla="*/ 0 h 6924674"/>
              <a:gd name="connsiteX17" fmla="*/ 9932479 w 9932479"/>
              <a:gd name="connsiteY17" fmla="*/ 0 h 6924674"/>
              <a:gd name="connsiteX18" fmla="*/ 9932479 w 9932479"/>
              <a:gd name="connsiteY18" fmla="*/ 2087156 h 6924674"/>
              <a:gd name="connsiteX19" fmla="*/ 11238 w 9932479"/>
              <a:gd name="connsiteY19" fmla="*/ 2082429 h 6924674"/>
              <a:gd name="connsiteX20" fmla="*/ 11238 w 9932479"/>
              <a:gd name="connsiteY20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04668 h 6924674"/>
              <a:gd name="connsiteX12" fmla="*/ 6779785 w 9932479"/>
              <a:gd name="connsiteY12" fmla="*/ 5804668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04668 h 6924674"/>
              <a:gd name="connsiteX12" fmla="*/ 6779786 w 9932479"/>
              <a:gd name="connsiteY12" fmla="*/ 5819141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22759 h 6924674"/>
              <a:gd name="connsiteX12" fmla="*/ 6779786 w 9932479"/>
              <a:gd name="connsiteY12" fmla="*/ 5819141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22759 h 6924674"/>
              <a:gd name="connsiteX12" fmla="*/ 6796591 w 9932479"/>
              <a:gd name="connsiteY12" fmla="*/ 5748587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22759 h 6924674"/>
              <a:gd name="connsiteX12" fmla="*/ 6786508 w 9932479"/>
              <a:gd name="connsiteY12" fmla="*/ 5829220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22759 h 6924674"/>
              <a:gd name="connsiteX12" fmla="*/ 6786509 w 9932479"/>
              <a:gd name="connsiteY12" fmla="*/ 5825860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22759 h 6924674"/>
              <a:gd name="connsiteX12" fmla="*/ 6786510 w 9932479"/>
              <a:gd name="connsiteY12" fmla="*/ 5815781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22759 h 6924674"/>
              <a:gd name="connsiteX12" fmla="*/ 6789872 w 9932479"/>
              <a:gd name="connsiteY12" fmla="*/ 5889695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22759 h 6924674"/>
              <a:gd name="connsiteX12" fmla="*/ 6789873 w 9932479"/>
              <a:gd name="connsiteY12" fmla="*/ 5832580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829175 w 9932479"/>
              <a:gd name="connsiteY10" fmla="*/ 4863688 h 6924674"/>
              <a:gd name="connsiteX11" fmla="*/ 5829175 w 9932479"/>
              <a:gd name="connsiteY11" fmla="*/ 5822759 h 6924674"/>
              <a:gd name="connsiteX12" fmla="*/ 6789874 w 9932479"/>
              <a:gd name="connsiteY12" fmla="*/ 5822500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5829175 w 9932479"/>
              <a:gd name="connsiteY11" fmla="*/ 5822759 h 6924674"/>
              <a:gd name="connsiteX12" fmla="*/ 6789874 w 9932479"/>
              <a:gd name="connsiteY12" fmla="*/ 5822500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5907153 w 9932479"/>
              <a:gd name="connsiteY11" fmla="*/ 5819511 h 6924674"/>
              <a:gd name="connsiteX12" fmla="*/ 6789874 w 9932479"/>
              <a:gd name="connsiteY12" fmla="*/ 5822500 h 6924674"/>
              <a:gd name="connsiteX13" fmla="*/ 6779786 w 9932479"/>
              <a:gd name="connsiteY13" fmla="*/ 4856466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5907153 w 9932479"/>
              <a:gd name="connsiteY11" fmla="*/ 5819511 h 6924674"/>
              <a:gd name="connsiteX12" fmla="*/ 6789874 w 9932479"/>
              <a:gd name="connsiteY12" fmla="*/ 5822500 h 6924674"/>
              <a:gd name="connsiteX13" fmla="*/ 6844768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5907153 w 9932479"/>
              <a:gd name="connsiteY11" fmla="*/ 5819511 h 6924674"/>
              <a:gd name="connsiteX12" fmla="*/ 7926592 w 9932479"/>
              <a:gd name="connsiteY12" fmla="*/ 5798195 h 6924674"/>
              <a:gd name="connsiteX13" fmla="*/ 6844768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5907153 w 9932479"/>
              <a:gd name="connsiteY11" fmla="*/ 5819511 h 6924674"/>
              <a:gd name="connsiteX12" fmla="*/ 7926592 w 9932479"/>
              <a:gd name="connsiteY12" fmla="*/ 5798195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5907153 w 9932479"/>
              <a:gd name="connsiteY11" fmla="*/ 5819511 h 6924674"/>
              <a:gd name="connsiteX12" fmla="*/ 7786782 w 9932479"/>
              <a:gd name="connsiteY12" fmla="*/ 5865035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5907153 w 9932479"/>
              <a:gd name="connsiteY11" fmla="*/ 5819511 h 6924674"/>
              <a:gd name="connsiteX12" fmla="*/ 7786782 w 9932479"/>
              <a:gd name="connsiteY12" fmla="*/ 5828576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5907153 w 9932479"/>
              <a:gd name="connsiteY11" fmla="*/ 5819511 h 6924674"/>
              <a:gd name="connsiteX12" fmla="*/ 7902277 w 9932479"/>
              <a:gd name="connsiteY12" fmla="*/ 5828576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5907153 w 9932479"/>
              <a:gd name="connsiteY11" fmla="*/ 5819511 h 6924674"/>
              <a:gd name="connsiteX12" fmla="*/ 7774624 w 9932479"/>
              <a:gd name="connsiteY12" fmla="*/ 5828576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5907153 w 9932479"/>
              <a:gd name="connsiteY10" fmla="*/ 4866937 h 6924674"/>
              <a:gd name="connsiteX11" fmla="*/ 6867587 w 9932479"/>
              <a:gd name="connsiteY11" fmla="*/ 5825587 h 6924674"/>
              <a:gd name="connsiteX12" fmla="*/ 7774624 w 9932479"/>
              <a:gd name="connsiteY12" fmla="*/ 5828576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37194 w 9932479"/>
              <a:gd name="connsiteY10" fmla="*/ 4860861 h 6924674"/>
              <a:gd name="connsiteX11" fmla="*/ 6867587 w 9932479"/>
              <a:gd name="connsiteY11" fmla="*/ 5825587 h 6924674"/>
              <a:gd name="connsiteX12" fmla="*/ 7774624 w 9932479"/>
              <a:gd name="connsiteY12" fmla="*/ 5828576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37194 w 9932479"/>
              <a:gd name="connsiteY10" fmla="*/ 4860861 h 6924674"/>
              <a:gd name="connsiteX11" fmla="*/ 6843273 w 9932479"/>
              <a:gd name="connsiteY11" fmla="*/ 5825587 h 6924674"/>
              <a:gd name="connsiteX12" fmla="*/ 7774624 w 9932479"/>
              <a:gd name="connsiteY12" fmla="*/ 5828576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37194 w 9932479"/>
              <a:gd name="connsiteY10" fmla="*/ 4860861 h 6924674"/>
              <a:gd name="connsiteX11" fmla="*/ 6831115 w 9932479"/>
              <a:gd name="connsiteY11" fmla="*/ 5825587 h 6924674"/>
              <a:gd name="connsiteX12" fmla="*/ 7774624 w 9932479"/>
              <a:gd name="connsiteY12" fmla="*/ 5828576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37194 w 9932479"/>
              <a:gd name="connsiteY10" fmla="*/ 4860861 h 6924674"/>
              <a:gd name="connsiteX11" fmla="*/ 6831115 w 9932479"/>
              <a:gd name="connsiteY11" fmla="*/ 5825587 h 6924674"/>
              <a:gd name="connsiteX12" fmla="*/ 7774624 w 9932479"/>
              <a:gd name="connsiteY12" fmla="*/ 5792117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37194 w 9932479"/>
              <a:gd name="connsiteY10" fmla="*/ 4860861 h 6924674"/>
              <a:gd name="connsiteX11" fmla="*/ 6831115 w 9932479"/>
              <a:gd name="connsiteY11" fmla="*/ 5801281 h 6924674"/>
              <a:gd name="connsiteX12" fmla="*/ 7774624 w 9932479"/>
              <a:gd name="connsiteY12" fmla="*/ 5792117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37194 w 9932479"/>
              <a:gd name="connsiteY10" fmla="*/ 4860861 h 6924674"/>
              <a:gd name="connsiteX11" fmla="*/ 6831115 w 9932479"/>
              <a:gd name="connsiteY11" fmla="*/ 5792210 h 6924674"/>
              <a:gd name="connsiteX12" fmla="*/ 7774624 w 9932479"/>
              <a:gd name="connsiteY12" fmla="*/ 5792117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37194 w 9932479"/>
              <a:gd name="connsiteY10" fmla="*/ 4860861 h 6924674"/>
              <a:gd name="connsiteX11" fmla="*/ 6835653 w 9932479"/>
              <a:gd name="connsiteY11" fmla="*/ 5792210 h 6924674"/>
              <a:gd name="connsiteX12" fmla="*/ 7774624 w 9932479"/>
              <a:gd name="connsiteY12" fmla="*/ 5792117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37194 w 9932479"/>
              <a:gd name="connsiteY10" fmla="*/ 4860861 h 6924674"/>
              <a:gd name="connsiteX11" fmla="*/ 6843929 w 9932479"/>
              <a:gd name="connsiteY11" fmla="*/ 5792210 h 6924674"/>
              <a:gd name="connsiteX12" fmla="*/ 7774624 w 9932479"/>
              <a:gd name="connsiteY12" fmla="*/ 5792117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45471 w 9932479"/>
              <a:gd name="connsiteY10" fmla="*/ 4860861 h 6924674"/>
              <a:gd name="connsiteX11" fmla="*/ 6843929 w 9932479"/>
              <a:gd name="connsiteY11" fmla="*/ 5792210 h 6924674"/>
              <a:gd name="connsiteX12" fmla="*/ 7774624 w 9932479"/>
              <a:gd name="connsiteY12" fmla="*/ 5792117 h 6924674"/>
              <a:gd name="connsiteX13" fmla="*/ 7774810 w 9932479"/>
              <a:gd name="connsiteY13" fmla="*/ 48532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638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45471 w 9932479"/>
              <a:gd name="connsiteY10" fmla="*/ 4860861 h 6924674"/>
              <a:gd name="connsiteX11" fmla="*/ 6843929 w 9932479"/>
              <a:gd name="connsiteY11" fmla="*/ 5792210 h 6924674"/>
              <a:gd name="connsiteX12" fmla="*/ 7774624 w 9932479"/>
              <a:gd name="connsiteY12" fmla="*/ 5792117 h 6924674"/>
              <a:gd name="connsiteX13" fmla="*/ 7774811 w 9932479"/>
              <a:gd name="connsiteY13" fmla="*/ 48659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9086659 w 9932479"/>
              <a:gd name="connsiteY0" fmla="*/ 4856585 h 6924674"/>
              <a:gd name="connsiteX1" fmla="*/ 9932479 w 9932479"/>
              <a:gd name="connsiteY1" fmla="*/ 4879696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45471 w 9932479"/>
              <a:gd name="connsiteY10" fmla="*/ 4860861 h 6924674"/>
              <a:gd name="connsiteX11" fmla="*/ 6843929 w 9932479"/>
              <a:gd name="connsiteY11" fmla="*/ 5792210 h 6924674"/>
              <a:gd name="connsiteX12" fmla="*/ 7774624 w 9932479"/>
              <a:gd name="connsiteY12" fmla="*/ 5792117 h 6924674"/>
              <a:gd name="connsiteX13" fmla="*/ 7774811 w 9932479"/>
              <a:gd name="connsiteY13" fmla="*/ 4865918 h 6924674"/>
              <a:gd name="connsiteX14" fmla="*/ 9086659 w 9932479"/>
              <a:gd name="connsiteY14" fmla="*/ 4856585 h 6924674"/>
              <a:gd name="connsiteX15" fmla="*/ 11238 w 9932479"/>
              <a:gd name="connsiteY15" fmla="*/ 0 h 6924674"/>
              <a:gd name="connsiteX16" fmla="*/ 9932479 w 9932479"/>
              <a:gd name="connsiteY16" fmla="*/ 0 h 6924674"/>
              <a:gd name="connsiteX17" fmla="*/ 9932479 w 9932479"/>
              <a:gd name="connsiteY17" fmla="*/ 2087156 h 6924674"/>
              <a:gd name="connsiteX18" fmla="*/ 11238 w 9932479"/>
              <a:gd name="connsiteY18" fmla="*/ 2082429 h 6924674"/>
              <a:gd name="connsiteX19" fmla="*/ 11238 w 9932479"/>
              <a:gd name="connsiteY19" fmla="*/ 0 h 6924674"/>
              <a:gd name="connsiteX0" fmla="*/ 7774811 w 9932479"/>
              <a:gd name="connsiteY0" fmla="*/ 4865918 h 6924674"/>
              <a:gd name="connsiteX1" fmla="*/ 9932479 w 9932479"/>
              <a:gd name="connsiteY1" fmla="*/ 4879696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45471 w 9932479"/>
              <a:gd name="connsiteY10" fmla="*/ 4860861 h 6924674"/>
              <a:gd name="connsiteX11" fmla="*/ 6843929 w 9932479"/>
              <a:gd name="connsiteY11" fmla="*/ 5792210 h 6924674"/>
              <a:gd name="connsiteX12" fmla="*/ 7774624 w 9932479"/>
              <a:gd name="connsiteY12" fmla="*/ 5792117 h 6924674"/>
              <a:gd name="connsiteX13" fmla="*/ 7774811 w 9932479"/>
              <a:gd name="connsiteY13" fmla="*/ 4865918 h 6924674"/>
              <a:gd name="connsiteX14" fmla="*/ 11238 w 9932479"/>
              <a:gd name="connsiteY14" fmla="*/ 0 h 6924674"/>
              <a:gd name="connsiteX15" fmla="*/ 9932479 w 9932479"/>
              <a:gd name="connsiteY15" fmla="*/ 0 h 6924674"/>
              <a:gd name="connsiteX16" fmla="*/ 9932479 w 9932479"/>
              <a:gd name="connsiteY16" fmla="*/ 2087156 h 6924674"/>
              <a:gd name="connsiteX17" fmla="*/ 11238 w 9932479"/>
              <a:gd name="connsiteY17" fmla="*/ 2082429 h 6924674"/>
              <a:gd name="connsiteX18" fmla="*/ 11238 w 9932479"/>
              <a:gd name="connsiteY18" fmla="*/ 0 h 6924674"/>
              <a:gd name="connsiteX0" fmla="*/ 7774811 w 9932479"/>
              <a:gd name="connsiteY0" fmla="*/ 4865918 h 6924674"/>
              <a:gd name="connsiteX1" fmla="*/ 9932479 w 9932479"/>
              <a:gd name="connsiteY1" fmla="*/ 487017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45471 w 9932479"/>
              <a:gd name="connsiteY10" fmla="*/ 4860861 h 6924674"/>
              <a:gd name="connsiteX11" fmla="*/ 6843929 w 9932479"/>
              <a:gd name="connsiteY11" fmla="*/ 5792210 h 6924674"/>
              <a:gd name="connsiteX12" fmla="*/ 7774624 w 9932479"/>
              <a:gd name="connsiteY12" fmla="*/ 5792117 h 6924674"/>
              <a:gd name="connsiteX13" fmla="*/ 7774811 w 9932479"/>
              <a:gd name="connsiteY13" fmla="*/ 4865918 h 6924674"/>
              <a:gd name="connsiteX14" fmla="*/ 11238 w 9932479"/>
              <a:gd name="connsiteY14" fmla="*/ 0 h 6924674"/>
              <a:gd name="connsiteX15" fmla="*/ 9932479 w 9932479"/>
              <a:gd name="connsiteY15" fmla="*/ 0 h 6924674"/>
              <a:gd name="connsiteX16" fmla="*/ 9932479 w 9932479"/>
              <a:gd name="connsiteY16" fmla="*/ 2087156 h 6924674"/>
              <a:gd name="connsiteX17" fmla="*/ 11238 w 9932479"/>
              <a:gd name="connsiteY17" fmla="*/ 2082429 h 6924674"/>
              <a:gd name="connsiteX18" fmla="*/ 11238 w 9932479"/>
              <a:gd name="connsiteY18" fmla="*/ 0 h 6924674"/>
              <a:gd name="connsiteX0" fmla="*/ 7774811 w 9932479"/>
              <a:gd name="connsiteY0" fmla="*/ 4865918 h 6924674"/>
              <a:gd name="connsiteX1" fmla="*/ 9929303 w 9932479"/>
              <a:gd name="connsiteY1" fmla="*/ 4787621 h 6924674"/>
              <a:gd name="connsiteX2" fmla="*/ 9932479 w 9932479"/>
              <a:gd name="connsiteY2" fmla="*/ 6924674 h 6924674"/>
              <a:gd name="connsiteX3" fmla="*/ 9924858 w 9932479"/>
              <a:gd name="connsiteY3" fmla="*/ 6924674 h 6924674"/>
              <a:gd name="connsiteX4" fmla="*/ 9086659 w 9932479"/>
              <a:gd name="connsiteY4" fmla="*/ 6924674 h 6924674"/>
              <a:gd name="connsiteX5" fmla="*/ 6779785 w 9932479"/>
              <a:gd name="connsiteY5" fmla="*/ 6924674 h 6924674"/>
              <a:gd name="connsiteX6" fmla="*/ 5829175 w 9932479"/>
              <a:gd name="connsiteY6" fmla="*/ 6924674 h 6924674"/>
              <a:gd name="connsiteX7" fmla="*/ 5829174 w 9932479"/>
              <a:gd name="connsiteY7" fmla="*/ 6924674 h 6924674"/>
              <a:gd name="connsiteX8" fmla="*/ 3619 w 9932479"/>
              <a:gd name="connsiteY8" fmla="*/ 6924674 h 6924674"/>
              <a:gd name="connsiteX9" fmla="*/ 0 w 9932479"/>
              <a:gd name="connsiteY9" fmla="*/ 4860070 h 6924674"/>
              <a:gd name="connsiteX10" fmla="*/ 6845471 w 9932479"/>
              <a:gd name="connsiteY10" fmla="*/ 4860861 h 6924674"/>
              <a:gd name="connsiteX11" fmla="*/ 6843929 w 9932479"/>
              <a:gd name="connsiteY11" fmla="*/ 5792210 h 6924674"/>
              <a:gd name="connsiteX12" fmla="*/ 7774624 w 9932479"/>
              <a:gd name="connsiteY12" fmla="*/ 5792117 h 6924674"/>
              <a:gd name="connsiteX13" fmla="*/ 7774811 w 9932479"/>
              <a:gd name="connsiteY13" fmla="*/ 4865918 h 6924674"/>
              <a:gd name="connsiteX14" fmla="*/ 11238 w 9932479"/>
              <a:gd name="connsiteY14" fmla="*/ 0 h 6924674"/>
              <a:gd name="connsiteX15" fmla="*/ 9932479 w 9932479"/>
              <a:gd name="connsiteY15" fmla="*/ 0 h 6924674"/>
              <a:gd name="connsiteX16" fmla="*/ 9932479 w 9932479"/>
              <a:gd name="connsiteY16" fmla="*/ 2087156 h 6924674"/>
              <a:gd name="connsiteX17" fmla="*/ 11238 w 9932479"/>
              <a:gd name="connsiteY17" fmla="*/ 2082429 h 6924674"/>
              <a:gd name="connsiteX18" fmla="*/ 11238 w 9932479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7334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5471 w 9942075"/>
              <a:gd name="connsiteY10" fmla="*/ 4860861 h 6924674"/>
              <a:gd name="connsiteX11" fmla="*/ 6843929 w 9942075"/>
              <a:gd name="connsiteY11" fmla="*/ 5792210 h 6924674"/>
              <a:gd name="connsiteX12" fmla="*/ 7774624 w 9942075"/>
              <a:gd name="connsiteY12" fmla="*/ 57921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87156 h 6924674"/>
              <a:gd name="connsiteX17" fmla="*/ 11238 w 9942075"/>
              <a:gd name="connsiteY17" fmla="*/ 2082429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5471 w 9942075"/>
              <a:gd name="connsiteY10" fmla="*/ 4860861 h 6924674"/>
              <a:gd name="connsiteX11" fmla="*/ 6843929 w 9942075"/>
              <a:gd name="connsiteY11" fmla="*/ 5792210 h 6924674"/>
              <a:gd name="connsiteX12" fmla="*/ 7774624 w 9942075"/>
              <a:gd name="connsiteY12" fmla="*/ 57921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87156 h 6924674"/>
              <a:gd name="connsiteX17" fmla="*/ 11238 w 9942075"/>
              <a:gd name="connsiteY17" fmla="*/ 2082429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07359 w 9942075"/>
              <a:gd name="connsiteY10" fmla="*/ 4860861 h 6924674"/>
              <a:gd name="connsiteX11" fmla="*/ 6843929 w 9942075"/>
              <a:gd name="connsiteY11" fmla="*/ 5792210 h 6924674"/>
              <a:gd name="connsiteX12" fmla="*/ 7774624 w 9942075"/>
              <a:gd name="connsiteY12" fmla="*/ 57921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87156 h 6924674"/>
              <a:gd name="connsiteX17" fmla="*/ 11238 w 9942075"/>
              <a:gd name="connsiteY17" fmla="*/ 2082429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3929 w 9942075"/>
              <a:gd name="connsiteY11" fmla="*/ 5792210 h 6924674"/>
              <a:gd name="connsiteX12" fmla="*/ 7774624 w 9942075"/>
              <a:gd name="connsiteY12" fmla="*/ 57921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87156 h 6924674"/>
              <a:gd name="connsiteX17" fmla="*/ 11238 w 9942075"/>
              <a:gd name="connsiteY17" fmla="*/ 2082429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764529 w 9942075"/>
              <a:gd name="connsiteY11" fmla="*/ 5792210 h 6924674"/>
              <a:gd name="connsiteX12" fmla="*/ 7774624 w 9942075"/>
              <a:gd name="connsiteY12" fmla="*/ 57921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87156 h 6924674"/>
              <a:gd name="connsiteX17" fmla="*/ 11238 w 9942075"/>
              <a:gd name="connsiteY17" fmla="*/ 2082429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795385 h 6924674"/>
              <a:gd name="connsiteX12" fmla="*/ 7774624 w 9942075"/>
              <a:gd name="connsiteY12" fmla="*/ 57921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87156 h 6924674"/>
              <a:gd name="connsiteX17" fmla="*/ 11238 w 9942075"/>
              <a:gd name="connsiteY17" fmla="*/ 2082429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795385 h 6924674"/>
              <a:gd name="connsiteX12" fmla="*/ 7774624 w 9942075"/>
              <a:gd name="connsiteY12" fmla="*/ 57921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82429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795385 h 6924674"/>
              <a:gd name="connsiteX12" fmla="*/ 7774624 w 9942075"/>
              <a:gd name="connsiteY12" fmla="*/ 57921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795385 h 6924674"/>
              <a:gd name="connsiteX12" fmla="*/ 7774624 w 9942075"/>
              <a:gd name="connsiteY12" fmla="*/ 58048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804910 h 6924674"/>
              <a:gd name="connsiteX12" fmla="*/ 7774624 w 9942075"/>
              <a:gd name="connsiteY12" fmla="*/ 580481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804910 h 6924674"/>
              <a:gd name="connsiteX12" fmla="*/ 7774624 w 9942075"/>
              <a:gd name="connsiteY12" fmla="*/ 5795292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798560 h 6924674"/>
              <a:gd name="connsiteX12" fmla="*/ 7774624 w 9942075"/>
              <a:gd name="connsiteY12" fmla="*/ 5795292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798560 h 6924674"/>
              <a:gd name="connsiteX12" fmla="*/ 7774624 w 9942075"/>
              <a:gd name="connsiteY12" fmla="*/ 5760367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798560 h 6924674"/>
              <a:gd name="connsiteX12" fmla="*/ 7774624 w 9942075"/>
              <a:gd name="connsiteY12" fmla="*/ 5725442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719185 h 6924674"/>
              <a:gd name="connsiteX12" fmla="*/ 7774624 w 9942075"/>
              <a:gd name="connsiteY12" fmla="*/ 5725442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0754 w 9942075"/>
              <a:gd name="connsiteY11" fmla="*/ 5719185 h 6924674"/>
              <a:gd name="connsiteX12" fmla="*/ 7777800 w 9942075"/>
              <a:gd name="connsiteY12" fmla="*/ 5801642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7774811 w 9942075"/>
              <a:gd name="connsiteY0" fmla="*/ 4865918 h 6924674"/>
              <a:gd name="connsiteX1" fmla="*/ 9942007 w 9942075"/>
              <a:gd name="connsiteY1" fmla="*/ 4866996 h 6924674"/>
              <a:gd name="connsiteX2" fmla="*/ 9932479 w 9942075"/>
              <a:gd name="connsiteY2" fmla="*/ 6924674 h 6924674"/>
              <a:gd name="connsiteX3" fmla="*/ 9924858 w 9942075"/>
              <a:gd name="connsiteY3" fmla="*/ 6924674 h 6924674"/>
              <a:gd name="connsiteX4" fmla="*/ 9086659 w 9942075"/>
              <a:gd name="connsiteY4" fmla="*/ 6924674 h 6924674"/>
              <a:gd name="connsiteX5" fmla="*/ 6779785 w 9942075"/>
              <a:gd name="connsiteY5" fmla="*/ 6924674 h 6924674"/>
              <a:gd name="connsiteX6" fmla="*/ 5829175 w 9942075"/>
              <a:gd name="connsiteY6" fmla="*/ 6924674 h 6924674"/>
              <a:gd name="connsiteX7" fmla="*/ 5829174 w 9942075"/>
              <a:gd name="connsiteY7" fmla="*/ 6924674 h 6924674"/>
              <a:gd name="connsiteX8" fmla="*/ 3619 w 9942075"/>
              <a:gd name="connsiteY8" fmla="*/ 6924674 h 6924674"/>
              <a:gd name="connsiteX9" fmla="*/ 0 w 9942075"/>
              <a:gd name="connsiteY9" fmla="*/ 4860070 h 6924674"/>
              <a:gd name="connsiteX10" fmla="*/ 6842296 w 9942075"/>
              <a:gd name="connsiteY10" fmla="*/ 4860861 h 6924674"/>
              <a:gd name="connsiteX11" fmla="*/ 6843930 w 9942075"/>
              <a:gd name="connsiteY11" fmla="*/ 5801735 h 6924674"/>
              <a:gd name="connsiteX12" fmla="*/ 7777800 w 9942075"/>
              <a:gd name="connsiteY12" fmla="*/ 5801642 h 6924674"/>
              <a:gd name="connsiteX13" fmla="*/ 7774811 w 9942075"/>
              <a:gd name="connsiteY13" fmla="*/ 4865918 h 6924674"/>
              <a:gd name="connsiteX14" fmla="*/ 11238 w 9942075"/>
              <a:gd name="connsiteY14" fmla="*/ 0 h 6924674"/>
              <a:gd name="connsiteX15" fmla="*/ 9932479 w 9942075"/>
              <a:gd name="connsiteY15" fmla="*/ 0 h 6924674"/>
              <a:gd name="connsiteX16" fmla="*/ 9932479 w 9942075"/>
              <a:gd name="connsiteY16" fmla="*/ 2061756 h 6924674"/>
              <a:gd name="connsiteX17" fmla="*/ 11238 w 9942075"/>
              <a:gd name="connsiteY17" fmla="*/ 2060204 h 6924674"/>
              <a:gd name="connsiteX18" fmla="*/ 11238 w 9942075"/>
              <a:gd name="connsiteY18" fmla="*/ 0 h 6924674"/>
              <a:gd name="connsiteX0" fmla="*/ 10036436 w 12203700"/>
              <a:gd name="connsiteY0" fmla="*/ 4865918 h 6924674"/>
              <a:gd name="connsiteX1" fmla="*/ 12203632 w 12203700"/>
              <a:gd name="connsiteY1" fmla="*/ 4866996 h 6924674"/>
              <a:gd name="connsiteX2" fmla="*/ 12194104 w 12203700"/>
              <a:gd name="connsiteY2" fmla="*/ 6924674 h 6924674"/>
              <a:gd name="connsiteX3" fmla="*/ 12186483 w 12203700"/>
              <a:gd name="connsiteY3" fmla="*/ 6924674 h 6924674"/>
              <a:gd name="connsiteX4" fmla="*/ 11348284 w 12203700"/>
              <a:gd name="connsiteY4" fmla="*/ 6924674 h 6924674"/>
              <a:gd name="connsiteX5" fmla="*/ 9041410 w 12203700"/>
              <a:gd name="connsiteY5" fmla="*/ 6924674 h 6924674"/>
              <a:gd name="connsiteX6" fmla="*/ 8090800 w 12203700"/>
              <a:gd name="connsiteY6" fmla="*/ 6924674 h 6924674"/>
              <a:gd name="connsiteX7" fmla="*/ 8090799 w 12203700"/>
              <a:gd name="connsiteY7" fmla="*/ 6924674 h 6924674"/>
              <a:gd name="connsiteX8" fmla="*/ 2265244 w 12203700"/>
              <a:gd name="connsiteY8" fmla="*/ 6924674 h 6924674"/>
              <a:gd name="connsiteX9" fmla="*/ 2261625 w 12203700"/>
              <a:gd name="connsiteY9" fmla="*/ 4860070 h 6924674"/>
              <a:gd name="connsiteX10" fmla="*/ 9103921 w 12203700"/>
              <a:gd name="connsiteY10" fmla="*/ 4860861 h 6924674"/>
              <a:gd name="connsiteX11" fmla="*/ 9105555 w 12203700"/>
              <a:gd name="connsiteY11" fmla="*/ 5801735 h 6924674"/>
              <a:gd name="connsiteX12" fmla="*/ 10039425 w 12203700"/>
              <a:gd name="connsiteY12" fmla="*/ 5801642 h 6924674"/>
              <a:gd name="connsiteX13" fmla="*/ 10036436 w 12203700"/>
              <a:gd name="connsiteY13" fmla="*/ 4865918 h 6924674"/>
              <a:gd name="connsiteX14" fmla="*/ 2272863 w 12203700"/>
              <a:gd name="connsiteY14" fmla="*/ 0 h 6924674"/>
              <a:gd name="connsiteX15" fmla="*/ 12194104 w 12203700"/>
              <a:gd name="connsiteY15" fmla="*/ 0 h 6924674"/>
              <a:gd name="connsiteX16" fmla="*/ 12194104 w 12203700"/>
              <a:gd name="connsiteY16" fmla="*/ 2061756 h 6924674"/>
              <a:gd name="connsiteX17" fmla="*/ 2272863 w 12203700"/>
              <a:gd name="connsiteY17" fmla="*/ 2060204 h 6924674"/>
              <a:gd name="connsiteX18" fmla="*/ 0 w 12203700"/>
              <a:gd name="connsiteY18" fmla="*/ 2061490 h 6924674"/>
              <a:gd name="connsiteX19" fmla="*/ 2272863 w 12203700"/>
              <a:gd name="connsiteY19" fmla="*/ 0 h 6924674"/>
              <a:gd name="connsiteX0" fmla="*/ 10036436 w 12203700"/>
              <a:gd name="connsiteY0" fmla="*/ 4893699 h 6952455"/>
              <a:gd name="connsiteX1" fmla="*/ 12203632 w 12203700"/>
              <a:gd name="connsiteY1" fmla="*/ 4894777 h 6952455"/>
              <a:gd name="connsiteX2" fmla="*/ 12194104 w 12203700"/>
              <a:gd name="connsiteY2" fmla="*/ 6952455 h 6952455"/>
              <a:gd name="connsiteX3" fmla="*/ 12186483 w 12203700"/>
              <a:gd name="connsiteY3" fmla="*/ 6952455 h 6952455"/>
              <a:gd name="connsiteX4" fmla="*/ 11348284 w 12203700"/>
              <a:gd name="connsiteY4" fmla="*/ 6952455 h 6952455"/>
              <a:gd name="connsiteX5" fmla="*/ 9041410 w 12203700"/>
              <a:gd name="connsiteY5" fmla="*/ 6952455 h 6952455"/>
              <a:gd name="connsiteX6" fmla="*/ 8090800 w 12203700"/>
              <a:gd name="connsiteY6" fmla="*/ 6952455 h 6952455"/>
              <a:gd name="connsiteX7" fmla="*/ 8090799 w 12203700"/>
              <a:gd name="connsiteY7" fmla="*/ 6952455 h 6952455"/>
              <a:gd name="connsiteX8" fmla="*/ 2265244 w 12203700"/>
              <a:gd name="connsiteY8" fmla="*/ 6952455 h 6952455"/>
              <a:gd name="connsiteX9" fmla="*/ 2261625 w 12203700"/>
              <a:gd name="connsiteY9" fmla="*/ 4887851 h 6952455"/>
              <a:gd name="connsiteX10" fmla="*/ 9103921 w 12203700"/>
              <a:gd name="connsiteY10" fmla="*/ 4888642 h 6952455"/>
              <a:gd name="connsiteX11" fmla="*/ 9105555 w 12203700"/>
              <a:gd name="connsiteY11" fmla="*/ 5829516 h 6952455"/>
              <a:gd name="connsiteX12" fmla="*/ 10039425 w 12203700"/>
              <a:gd name="connsiteY12" fmla="*/ 5829423 h 6952455"/>
              <a:gd name="connsiteX13" fmla="*/ 10036436 w 12203700"/>
              <a:gd name="connsiteY13" fmla="*/ 4893699 h 6952455"/>
              <a:gd name="connsiteX14" fmla="*/ 13957 w 12203700"/>
              <a:gd name="connsiteY14" fmla="*/ 0 h 6952455"/>
              <a:gd name="connsiteX15" fmla="*/ 12194104 w 12203700"/>
              <a:gd name="connsiteY15" fmla="*/ 27781 h 6952455"/>
              <a:gd name="connsiteX16" fmla="*/ 12194104 w 12203700"/>
              <a:gd name="connsiteY16" fmla="*/ 2089537 h 6952455"/>
              <a:gd name="connsiteX17" fmla="*/ 2272863 w 12203700"/>
              <a:gd name="connsiteY17" fmla="*/ 2087985 h 6952455"/>
              <a:gd name="connsiteX18" fmla="*/ 0 w 12203700"/>
              <a:gd name="connsiteY18" fmla="*/ 2089271 h 6952455"/>
              <a:gd name="connsiteX19" fmla="*/ 13957 w 12203700"/>
              <a:gd name="connsiteY19" fmla="*/ 0 h 6952455"/>
              <a:gd name="connsiteX0" fmla="*/ 10036436 w 12203700"/>
              <a:gd name="connsiteY0" fmla="*/ 4909574 h 6968330"/>
              <a:gd name="connsiteX1" fmla="*/ 12203632 w 12203700"/>
              <a:gd name="connsiteY1" fmla="*/ 4910652 h 6968330"/>
              <a:gd name="connsiteX2" fmla="*/ 12194104 w 12203700"/>
              <a:gd name="connsiteY2" fmla="*/ 6968330 h 6968330"/>
              <a:gd name="connsiteX3" fmla="*/ 12186483 w 12203700"/>
              <a:gd name="connsiteY3" fmla="*/ 6968330 h 6968330"/>
              <a:gd name="connsiteX4" fmla="*/ 11348284 w 12203700"/>
              <a:gd name="connsiteY4" fmla="*/ 6968330 h 6968330"/>
              <a:gd name="connsiteX5" fmla="*/ 9041410 w 12203700"/>
              <a:gd name="connsiteY5" fmla="*/ 6968330 h 6968330"/>
              <a:gd name="connsiteX6" fmla="*/ 8090800 w 12203700"/>
              <a:gd name="connsiteY6" fmla="*/ 6968330 h 6968330"/>
              <a:gd name="connsiteX7" fmla="*/ 8090799 w 12203700"/>
              <a:gd name="connsiteY7" fmla="*/ 6968330 h 6968330"/>
              <a:gd name="connsiteX8" fmla="*/ 2265244 w 12203700"/>
              <a:gd name="connsiteY8" fmla="*/ 6968330 h 6968330"/>
              <a:gd name="connsiteX9" fmla="*/ 2261625 w 12203700"/>
              <a:gd name="connsiteY9" fmla="*/ 4903726 h 6968330"/>
              <a:gd name="connsiteX10" fmla="*/ 9103921 w 12203700"/>
              <a:gd name="connsiteY10" fmla="*/ 4904517 h 6968330"/>
              <a:gd name="connsiteX11" fmla="*/ 9105555 w 12203700"/>
              <a:gd name="connsiteY11" fmla="*/ 5845391 h 6968330"/>
              <a:gd name="connsiteX12" fmla="*/ 10039425 w 12203700"/>
              <a:gd name="connsiteY12" fmla="*/ 5845298 h 6968330"/>
              <a:gd name="connsiteX13" fmla="*/ 10036436 w 12203700"/>
              <a:gd name="connsiteY13" fmla="*/ 4909574 h 6968330"/>
              <a:gd name="connsiteX14" fmla="*/ 13957 w 12203700"/>
              <a:gd name="connsiteY14" fmla="*/ 15875 h 6968330"/>
              <a:gd name="connsiteX15" fmla="*/ 12202044 w 12203700"/>
              <a:gd name="connsiteY15" fmla="*/ 0 h 6968330"/>
              <a:gd name="connsiteX16" fmla="*/ 12194104 w 12203700"/>
              <a:gd name="connsiteY16" fmla="*/ 2105412 h 6968330"/>
              <a:gd name="connsiteX17" fmla="*/ 2272863 w 12203700"/>
              <a:gd name="connsiteY17" fmla="*/ 2103860 h 6968330"/>
              <a:gd name="connsiteX18" fmla="*/ 0 w 12203700"/>
              <a:gd name="connsiteY18" fmla="*/ 2105146 h 6968330"/>
              <a:gd name="connsiteX19" fmla="*/ 13957 w 12203700"/>
              <a:gd name="connsiteY19" fmla="*/ 15875 h 6968330"/>
              <a:gd name="connsiteX0" fmla="*/ 10036436 w 12203700"/>
              <a:gd name="connsiteY0" fmla="*/ 4909574 h 6968330"/>
              <a:gd name="connsiteX1" fmla="*/ 12203632 w 12203700"/>
              <a:gd name="connsiteY1" fmla="*/ 4910652 h 6968330"/>
              <a:gd name="connsiteX2" fmla="*/ 12194104 w 12203700"/>
              <a:gd name="connsiteY2" fmla="*/ 6968330 h 6968330"/>
              <a:gd name="connsiteX3" fmla="*/ 12186483 w 12203700"/>
              <a:gd name="connsiteY3" fmla="*/ 6968330 h 6968330"/>
              <a:gd name="connsiteX4" fmla="*/ 11286550 w 12203700"/>
              <a:gd name="connsiteY4" fmla="*/ 6620781 h 6968330"/>
              <a:gd name="connsiteX5" fmla="*/ 9041410 w 12203700"/>
              <a:gd name="connsiteY5" fmla="*/ 6968330 h 6968330"/>
              <a:gd name="connsiteX6" fmla="*/ 8090800 w 12203700"/>
              <a:gd name="connsiteY6" fmla="*/ 6968330 h 6968330"/>
              <a:gd name="connsiteX7" fmla="*/ 8090799 w 12203700"/>
              <a:gd name="connsiteY7" fmla="*/ 6968330 h 6968330"/>
              <a:gd name="connsiteX8" fmla="*/ 2265244 w 12203700"/>
              <a:gd name="connsiteY8" fmla="*/ 6968330 h 6968330"/>
              <a:gd name="connsiteX9" fmla="*/ 2261625 w 12203700"/>
              <a:gd name="connsiteY9" fmla="*/ 4903726 h 6968330"/>
              <a:gd name="connsiteX10" fmla="*/ 9103921 w 12203700"/>
              <a:gd name="connsiteY10" fmla="*/ 4904517 h 6968330"/>
              <a:gd name="connsiteX11" fmla="*/ 9105555 w 12203700"/>
              <a:gd name="connsiteY11" fmla="*/ 5845391 h 6968330"/>
              <a:gd name="connsiteX12" fmla="*/ 10039425 w 12203700"/>
              <a:gd name="connsiteY12" fmla="*/ 5845298 h 6968330"/>
              <a:gd name="connsiteX13" fmla="*/ 10036436 w 12203700"/>
              <a:gd name="connsiteY13" fmla="*/ 4909574 h 6968330"/>
              <a:gd name="connsiteX14" fmla="*/ 13957 w 12203700"/>
              <a:gd name="connsiteY14" fmla="*/ 15875 h 6968330"/>
              <a:gd name="connsiteX15" fmla="*/ 12202044 w 12203700"/>
              <a:gd name="connsiteY15" fmla="*/ 0 h 6968330"/>
              <a:gd name="connsiteX16" fmla="*/ 12194104 w 12203700"/>
              <a:gd name="connsiteY16" fmla="*/ 2105412 h 6968330"/>
              <a:gd name="connsiteX17" fmla="*/ 2272863 w 12203700"/>
              <a:gd name="connsiteY17" fmla="*/ 2103860 h 6968330"/>
              <a:gd name="connsiteX18" fmla="*/ 0 w 12203700"/>
              <a:gd name="connsiteY18" fmla="*/ 2105146 h 6968330"/>
              <a:gd name="connsiteX19" fmla="*/ 13957 w 12203700"/>
              <a:gd name="connsiteY19" fmla="*/ 15875 h 6968330"/>
              <a:gd name="connsiteX0" fmla="*/ 10036436 w 12203700"/>
              <a:gd name="connsiteY0" fmla="*/ 4909574 h 6968330"/>
              <a:gd name="connsiteX1" fmla="*/ 12203632 w 12203700"/>
              <a:gd name="connsiteY1" fmla="*/ 4910652 h 6968330"/>
              <a:gd name="connsiteX2" fmla="*/ 12194104 w 12203700"/>
              <a:gd name="connsiteY2" fmla="*/ 6968330 h 6968330"/>
              <a:gd name="connsiteX3" fmla="*/ 12186483 w 12203700"/>
              <a:gd name="connsiteY3" fmla="*/ 6968330 h 6968330"/>
              <a:gd name="connsiteX4" fmla="*/ 9041410 w 12203700"/>
              <a:gd name="connsiteY4" fmla="*/ 6968330 h 6968330"/>
              <a:gd name="connsiteX5" fmla="*/ 8090800 w 12203700"/>
              <a:gd name="connsiteY5" fmla="*/ 6968330 h 6968330"/>
              <a:gd name="connsiteX6" fmla="*/ 8090799 w 12203700"/>
              <a:gd name="connsiteY6" fmla="*/ 6968330 h 6968330"/>
              <a:gd name="connsiteX7" fmla="*/ 2265244 w 12203700"/>
              <a:gd name="connsiteY7" fmla="*/ 6968330 h 6968330"/>
              <a:gd name="connsiteX8" fmla="*/ 2261625 w 12203700"/>
              <a:gd name="connsiteY8" fmla="*/ 4903726 h 6968330"/>
              <a:gd name="connsiteX9" fmla="*/ 9103921 w 12203700"/>
              <a:gd name="connsiteY9" fmla="*/ 4904517 h 6968330"/>
              <a:gd name="connsiteX10" fmla="*/ 9105555 w 12203700"/>
              <a:gd name="connsiteY10" fmla="*/ 5845391 h 6968330"/>
              <a:gd name="connsiteX11" fmla="*/ 10039425 w 12203700"/>
              <a:gd name="connsiteY11" fmla="*/ 5845298 h 6968330"/>
              <a:gd name="connsiteX12" fmla="*/ 10036436 w 12203700"/>
              <a:gd name="connsiteY12" fmla="*/ 4909574 h 6968330"/>
              <a:gd name="connsiteX13" fmla="*/ 13957 w 12203700"/>
              <a:gd name="connsiteY13" fmla="*/ 15875 h 6968330"/>
              <a:gd name="connsiteX14" fmla="*/ 12202044 w 12203700"/>
              <a:gd name="connsiteY14" fmla="*/ 0 h 6968330"/>
              <a:gd name="connsiteX15" fmla="*/ 12194104 w 12203700"/>
              <a:gd name="connsiteY15" fmla="*/ 2105412 h 6968330"/>
              <a:gd name="connsiteX16" fmla="*/ 2272863 w 12203700"/>
              <a:gd name="connsiteY16" fmla="*/ 2103860 h 6968330"/>
              <a:gd name="connsiteX17" fmla="*/ 0 w 12203700"/>
              <a:gd name="connsiteY17" fmla="*/ 2105146 h 6968330"/>
              <a:gd name="connsiteX18" fmla="*/ 13957 w 12203700"/>
              <a:gd name="connsiteY18" fmla="*/ 15875 h 6968330"/>
              <a:gd name="connsiteX0" fmla="*/ 10036436 w 12203700"/>
              <a:gd name="connsiteY0" fmla="*/ 4909574 h 6968330"/>
              <a:gd name="connsiteX1" fmla="*/ 12203632 w 12203700"/>
              <a:gd name="connsiteY1" fmla="*/ 4910652 h 6968330"/>
              <a:gd name="connsiteX2" fmla="*/ 12194104 w 12203700"/>
              <a:gd name="connsiteY2" fmla="*/ 6968330 h 6968330"/>
              <a:gd name="connsiteX3" fmla="*/ 12007780 w 12203700"/>
              <a:gd name="connsiteY3" fmla="*/ 6744210 h 6968330"/>
              <a:gd name="connsiteX4" fmla="*/ 9041410 w 12203700"/>
              <a:gd name="connsiteY4" fmla="*/ 6968330 h 6968330"/>
              <a:gd name="connsiteX5" fmla="*/ 8090800 w 12203700"/>
              <a:gd name="connsiteY5" fmla="*/ 6968330 h 6968330"/>
              <a:gd name="connsiteX6" fmla="*/ 8090799 w 12203700"/>
              <a:gd name="connsiteY6" fmla="*/ 6968330 h 6968330"/>
              <a:gd name="connsiteX7" fmla="*/ 2265244 w 12203700"/>
              <a:gd name="connsiteY7" fmla="*/ 6968330 h 6968330"/>
              <a:gd name="connsiteX8" fmla="*/ 2261625 w 12203700"/>
              <a:gd name="connsiteY8" fmla="*/ 4903726 h 6968330"/>
              <a:gd name="connsiteX9" fmla="*/ 9103921 w 12203700"/>
              <a:gd name="connsiteY9" fmla="*/ 4904517 h 6968330"/>
              <a:gd name="connsiteX10" fmla="*/ 9105555 w 12203700"/>
              <a:gd name="connsiteY10" fmla="*/ 5845391 h 6968330"/>
              <a:gd name="connsiteX11" fmla="*/ 10039425 w 12203700"/>
              <a:gd name="connsiteY11" fmla="*/ 5845298 h 6968330"/>
              <a:gd name="connsiteX12" fmla="*/ 10036436 w 12203700"/>
              <a:gd name="connsiteY12" fmla="*/ 4909574 h 6968330"/>
              <a:gd name="connsiteX13" fmla="*/ 13957 w 12203700"/>
              <a:gd name="connsiteY13" fmla="*/ 15875 h 6968330"/>
              <a:gd name="connsiteX14" fmla="*/ 12202044 w 12203700"/>
              <a:gd name="connsiteY14" fmla="*/ 0 h 6968330"/>
              <a:gd name="connsiteX15" fmla="*/ 12194104 w 12203700"/>
              <a:gd name="connsiteY15" fmla="*/ 2105412 h 6968330"/>
              <a:gd name="connsiteX16" fmla="*/ 2272863 w 12203700"/>
              <a:gd name="connsiteY16" fmla="*/ 2103860 h 6968330"/>
              <a:gd name="connsiteX17" fmla="*/ 0 w 12203700"/>
              <a:gd name="connsiteY17" fmla="*/ 2105146 h 6968330"/>
              <a:gd name="connsiteX18" fmla="*/ 13957 w 12203700"/>
              <a:gd name="connsiteY18" fmla="*/ 15875 h 6968330"/>
              <a:gd name="connsiteX0" fmla="*/ 10036436 w 12203700"/>
              <a:gd name="connsiteY0" fmla="*/ 4909574 h 6968330"/>
              <a:gd name="connsiteX1" fmla="*/ 12203632 w 12203700"/>
              <a:gd name="connsiteY1" fmla="*/ 4910652 h 6968330"/>
              <a:gd name="connsiteX2" fmla="*/ 12194104 w 12203700"/>
              <a:gd name="connsiteY2" fmla="*/ 6968330 h 6968330"/>
              <a:gd name="connsiteX3" fmla="*/ 9041410 w 12203700"/>
              <a:gd name="connsiteY3" fmla="*/ 6968330 h 6968330"/>
              <a:gd name="connsiteX4" fmla="*/ 8090800 w 12203700"/>
              <a:gd name="connsiteY4" fmla="*/ 6968330 h 6968330"/>
              <a:gd name="connsiteX5" fmla="*/ 8090799 w 12203700"/>
              <a:gd name="connsiteY5" fmla="*/ 6968330 h 6968330"/>
              <a:gd name="connsiteX6" fmla="*/ 2265244 w 12203700"/>
              <a:gd name="connsiteY6" fmla="*/ 6968330 h 6968330"/>
              <a:gd name="connsiteX7" fmla="*/ 2261625 w 12203700"/>
              <a:gd name="connsiteY7" fmla="*/ 4903726 h 6968330"/>
              <a:gd name="connsiteX8" fmla="*/ 9103921 w 12203700"/>
              <a:gd name="connsiteY8" fmla="*/ 4904517 h 6968330"/>
              <a:gd name="connsiteX9" fmla="*/ 9105555 w 12203700"/>
              <a:gd name="connsiteY9" fmla="*/ 5845391 h 6968330"/>
              <a:gd name="connsiteX10" fmla="*/ 10039425 w 12203700"/>
              <a:gd name="connsiteY10" fmla="*/ 5845298 h 6968330"/>
              <a:gd name="connsiteX11" fmla="*/ 10036436 w 12203700"/>
              <a:gd name="connsiteY11" fmla="*/ 4909574 h 6968330"/>
              <a:gd name="connsiteX12" fmla="*/ 13957 w 12203700"/>
              <a:gd name="connsiteY12" fmla="*/ 15875 h 6968330"/>
              <a:gd name="connsiteX13" fmla="*/ 12202044 w 12203700"/>
              <a:gd name="connsiteY13" fmla="*/ 0 h 6968330"/>
              <a:gd name="connsiteX14" fmla="*/ 12194104 w 12203700"/>
              <a:gd name="connsiteY14" fmla="*/ 2105412 h 6968330"/>
              <a:gd name="connsiteX15" fmla="*/ 2272863 w 12203700"/>
              <a:gd name="connsiteY15" fmla="*/ 2103860 h 6968330"/>
              <a:gd name="connsiteX16" fmla="*/ 0 w 12203700"/>
              <a:gd name="connsiteY16" fmla="*/ 2105146 h 6968330"/>
              <a:gd name="connsiteX17" fmla="*/ 13957 w 12203700"/>
              <a:gd name="connsiteY17" fmla="*/ 15875 h 6968330"/>
              <a:gd name="connsiteX0" fmla="*/ 10036436 w 12203637"/>
              <a:gd name="connsiteY0" fmla="*/ 4909574 h 6968330"/>
              <a:gd name="connsiteX1" fmla="*/ 12203632 w 12203637"/>
              <a:gd name="connsiteY1" fmla="*/ 4910652 h 6968330"/>
              <a:gd name="connsiteX2" fmla="*/ 12051142 w 12203637"/>
              <a:gd name="connsiteY2" fmla="*/ 6724721 h 6968330"/>
              <a:gd name="connsiteX3" fmla="*/ 9041410 w 12203637"/>
              <a:gd name="connsiteY3" fmla="*/ 6968330 h 6968330"/>
              <a:gd name="connsiteX4" fmla="*/ 8090800 w 12203637"/>
              <a:gd name="connsiteY4" fmla="*/ 6968330 h 6968330"/>
              <a:gd name="connsiteX5" fmla="*/ 8090799 w 12203637"/>
              <a:gd name="connsiteY5" fmla="*/ 6968330 h 6968330"/>
              <a:gd name="connsiteX6" fmla="*/ 2265244 w 12203637"/>
              <a:gd name="connsiteY6" fmla="*/ 6968330 h 6968330"/>
              <a:gd name="connsiteX7" fmla="*/ 2261625 w 12203637"/>
              <a:gd name="connsiteY7" fmla="*/ 4903726 h 6968330"/>
              <a:gd name="connsiteX8" fmla="*/ 9103921 w 12203637"/>
              <a:gd name="connsiteY8" fmla="*/ 4904517 h 6968330"/>
              <a:gd name="connsiteX9" fmla="*/ 9105555 w 12203637"/>
              <a:gd name="connsiteY9" fmla="*/ 5845391 h 6968330"/>
              <a:gd name="connsiteX10" fmla="*/ 10039425 w 12203637"/>
              <a:gd name="connsiteY10" fmla="*/ 5845298 h 6968330"/>
              <a:gd name="connsiteX11" fmla="*/ 10036436 w 12203637"/>
              <a:gd name="connsiteY11" fmla="*/ 4909574 h 6968330"/>
              <a:gd name="connsiteX12" fmla="*/ 13957 w 12203637"/>
              <a:gd name="connsiteY12" fmla="*/ 15875 h 6968330"/>
              <a:gd name="connsiteX13" fmla="*/ 12202044 w 12203637"/>
              <a:gd name="connsiteY13" fmla="*/ 0 h 6968330"/>
              <a:gd name="connsiteX14" fmla="*/ 12194104 w 12203637"/>
              <a:gd name="connsiteY14" fmla="*/ 2105412 h 6968330"/>
              <a:gd name="connsiteX15" fmla="*/ 2272863 w 12203637"/>
              <a:gd name="connsiteY15" fmla="*/ 2103860 h 6968330"/>
              <a:gd name="connsiteX16" fmla="*/ 0 w 12203637"/>
              <a:gd name="connsiteY16" fmla="*/ 2105146 h 6968330"/>
              <a:gd name="connsiteX17" fmla="*/ 13957 w 12203637"/>
              <a:gd name="connsiteY17" fmla="*/ 15875 h 6968330"/>
              <a:gd name="connsiteX0" fmla="*/ 10036436 w 12207100"/>
              <a:gd name="connsiteY0" fmla="*/ 4909574 h 6968330"/>
              <a:gd name="connsiteX1" fmla="*/ 12203632 w 12207100"/>
              <a:gd name="connsiteY1" fmla="*/ 4910652 h 6968330"/>
              <a:gd name="connsiteX2" fmla="*/ 12207100 w 12207100"/>
              <a:gd name="connsiteY2" fmla="*/ 6857894 h 6968330"/>
              <a:gd name="connsiteX3" fmla="*/ 9041410 w 12207100"/>
              <a:gd name="connsiteY3" fmla="*/ 6968330 h 6968330"/>
              <a:gd name="connsiteX4" fmla="*/ 8090800 w 12207100"/>
              <a:gd name="connsiteY4" fmla="*/ 6968330 h 6968330"/>
              <a:gd name="connsiteX5" fmla="*/ 8090799 w 12207100"/>
              <a:gd name="connsiteY5" fmla="*/ 6968330 h 6968330"/>
              <a:gd name="connsiteX6" fmla="*/ 2265244 w 12207100"/>
              <a:gd name="connsiteY6" fmla="*/ 6968330 h 6968330"/>
              <a:gd name="connsiteX7" fmla="*/ 2261625 w 12207100"/>
              <a:gd name="connsiteY7" fmla="*/ 4903726 h 6968330"/>
              <a:gd name="connsiteX8" fmla="*/ 9103921 w 12207100"/>
              <a:gd name="connsiteY8" fmla="*/ 4904517 h 6968330"/>
              <a:gd name="connsiteX9" fmla="*/ 9105555 w 12207100"/>
              <a:gd name="connsiteY9" fmla="*/ 5845391 h 6968330"/>
              <a:gd name="connsiteX10" fmla="*/ 10039425 w 12207100"/>
              <a:gd name="connsiteY10" fmla="*/ 5845298 h 6968330"/>
              <a:gd name="connsiteX11" fmla="*/ 10036436 w 12207100"/>
              <a:gd name="connsiteY11" fmla="*/ 4909574 h 6968330"/>
              <a:gd name="connsiteX12" fmla="*/ 13957 w 12207100"/>
              <a:gd name="connsiteY12" fmla="*/ 15875 h 6968330"/>
              <a:gd name="connsiteX13" fmla="*/ 12202044 w 12207100"/>
              <a:gd name="connsiteY13" fmla="*/ 0 h 6968330"/>
              <a:gd name="connsiteX14" fmla="*/ 12194104 w 12207100"/>
              <a:gd name="connsiteY14" fmla="*/ 2105412 h 6968330"/>
              <a:gd name="connsiteX15" fmla="*/ 2272863 w 12207100"/>
              <a:gd name="connsiteY15" fmla="*/ 2103860 h 6968330"/>
              <a:gd name="connsiteX16" fmla="*/ 0 w 12207100"/>
              <a:gd name="connsiteY16" fmla="*/ 2105146 h 6968330"/>
              <a:gd name="connsiteX17" fmla="*/ 13957 w 12207100"/>
              <a:gd name="connsiteY17" fmla="*/ 15875 h 6968330"/>
              <a:gd name="connsiteX0" fmla="*/ 10036436 w 12207100"/>
              <a:gd name="connsiteY0" fmla="*/ 4909574 h 6968330"/>
              <a:gd name="connsiteX1" fmla="*/ 12203632 w 12207100"/>
              <a:gd name="connsiteY1" fmla="*/ 4910652 h 6968330"/>
              <a:gd name="connsiteX2" fmla="*/ 12207100 w 12207100"/>
              <a:gd name="connsiteY2" fmla="*/ 6857894 h 6968330"/>
              <a:gd name="connsiteX3" fmla="*/ 8090800 w 12207100"/>
              <a:gd name="connsiteY3" fmla="*/ 6968330 h 6968330"/>
              <a:gd name="connsiteX4" fmla="*/ 8090799 w 12207100"/>
              <a:gd name="connsiteY4" fmla="*/ 6968330 h 6968330"/>
              <a:gd name="connsiteX5" fmla="*/ 2265244 w 12207100"/>
              <a:gd name="connsiteY5" fmla="*/ 6968330 h 6968330"/>
              <a:gd name="connsiteX6" fmla="*/ 2261625 w 12207100"/>
              <a:gd name="connsiteY6" fmla="*/ 4903726 h 6968330"/>
              <a:gd name="connsiteX7" fmla="*/ 9103921 w 12207100"/>
              <a:gd name="connsiteY7" fmla="*/ 4904517 h 6968330"/>
              <a:gd name="connsiteX8" fmla="*/ 9105555 w 12207100"/>
              <a:gd name="connsiteY8" fmla="*/ 5845391 h 6968330"/>
              <a:gd name="connsiteX9" fmla="*/ 10039425 w 12207100"/>
              <a:gd name="connsiteY9" fmla="*/ 5845298 h 6968330"/>
              <a:gd name="connsiteX10" fmla="*/ 10036436 w 12207100"/>
              <a:gd name="connsiteY10" fmla="*/ 4909574 h 6968330"/>
              <a:gd name="connsiteX11" fmla="*/ 13957 w 12207100"/>
              <a:gd name="connsiteY11" fmla="*/ 15875 h 6968330"/>
              <a:gd name="connsiteX12" fmla="*/ 12202044 w 12207100"/>
              <a:gd name="connsiteY12" fmla="*/ 0 h 6968330"/>
              <a:gd name="connsiteX13" fmla="*/ 12194104 w 12207100"/>
              <a:gd name="connsiteY13" fmla="*/ 2105412 h 6968330"/>
              <a:gd name="connsiteX14" fmla="*/ 2272863 w 12207100"/>
              <a:gd name="connsiteY14" fmla="*/ 2103860 h 6968330"/>
              <a:gd name="connsiteX15" fmla="*/ 0 w 12207100"/>
              <a:gd name="connsiteY15" fmla="*/ 2105146 h 6968330"/>
              <a:gd name="connsiteX16" fmla="*/ 13957 w 12207100"/>
              <a:gd name="connsiteY16" fmla="*/ 15875 h 6968330"/>
              <a:gd name="connsiteX0" fmla="*/ 10036436 w 12207100"/>
              <a:gd name="connsiteY0" fmla="*/ 4909574 h 6968330"/>
              <a:gd name="connsiteX1" fmla="*/ 12203632 w 12207100"/>
              <a:gd name="connsiteY1" fmla="*/ 4910652 h 6968330"/>
              <a:gd name="connsiteX2" fmla="*/ 12207100 w 12207100"/>
              <a:gd name="connsiteY2" fmla="*/ 6857894 h 6968330"/>
              <a:gd name="connsiteX3" fmla="*/ 8090800 w 12207100"/>
              <a:gd name="connsiteY3" fmla="*/ 6968330 h 6968330"/>
              <a:gd name="connsiteX4" fmla="*/ 2265244 w 12207100"/>
              <a:gd name="connsiteY4" fmla="*/ 6968330 h 6968330"/>
              <a:gd name="connsiteX5" fmla="*/ 2261625 w 12207100"/>
              <a:gd name="connsiteY5" fmla="*/ 4903726 h 6968330"/>
              <a:gd name="connsiteX6" fmla="*/ 9103921 w 12207100"/>
              <a:gd name="connsiteY6" fmla="*/ 4904517 h 6968330"/>
              <a:gd name="connsiteX7" fmla="*/ 9105555 w 12207100"/>
              <a:gd name="connsiteY7" fmla="*/ 5845391 h 6968330"/>
              <a:gd name="connsiteX8" fmla="*/ 10039425 w 12207100"/>
              <a:gd name="connsiteY8" fmla="*/ 5845298 h 6968330"/>
              <a:gd name="connsiteX9" fmla="*/ 10036436 w 12207100"/>
              <a:gd name="connsiteY9" fmla="*/ 4909574 h 6968330"/>
              <a:gd name="connsiteX10" fmla="*/ 13957 w 12207100"/>
              <a:gd name="connsiteY10" fmla="*/ 15875 h 6968330"/>
              <a:gd name="connsiteX11" fmla="*/ 12202044 w 12207100"/>
              <a:gd name="connsiteY11" fmla="*/ 0 h 6968330"/>
              <a:gd name="connsiteX12" fmla="*/ 12194104 w 12207100"/>
              <a:gd name="connsiteY12" fmla="*/ 2105412 h 6968330"/>
              <a:gd name="connsiteX13" fmla="*/ 2272863 w 12207100"/>
              <a:gd name="connsiteY13" fmla="*/ 2103860 h 6968330"/>
              <a:gd name="connsiteX14" fmla="*/ 0 w 12207100"/>
              <a:gd name="connsiteY14" fmla="*/ 2105146 h 6968330"/>
              <a:gd name="connsiteX15" fmla="*/ 13957 w 12207100"/>
              <a:gd name="connsiteY15" fmla="*/ 15875 h 6968330"/>
              <a:gd name="connsiteX0" fmla="*/ 10036436 w 12207100"/>
              <a:gd name="connsiteY0" fmla="*/ 4909574 h 6968330"/>
              <a:gd name="connsiteX1" fmla="*/ 12203632 w 12207100"/>
              <a:gd name="connsiteY1" fmla="*/ 4910652 h 6968330"/>
              <a:gd name="connsiteX2" fmla="*/ 12207100 w 12207100"/>
              <a:gd name="connsiteY2" fmla="*/ 6857894 h 6968330"/>
              <a:gd name="connsiteX3" fmla="*/ 2265244 w 12207100"/>
              <a:gd name="connsiteY3" fmla="*/ 6968330 h 6968330"/>
              <a:gd name="connsiteX4" fmla="*/ 2261625 w 12207100"/>
              <a:gd name="connsiteY4" fmla="*/ 4903726 h 6968330"/>
              <a:gd name="connsiteX5" fmla="*/ 9103921 w 12207100"/>
              <a:gd name="connsiteY5" fmla="*/ 4904517 h 6968330"/>
              <a:gd name="connsiteX6" fmla="*/ 9105555 w 12207100"/>
              <a:gd name="connsiteY6" fmla="*/ 5845391 h 6968330"/>
              <a:gd name="connsiteX7" fmla="*/ 10039425 w 12207100"/>
              <a:gd name="connsiteY7" fmla="*/ 5845298 h 6968330"/>
              <a:gd name="connsiteX8" fmla="*/ 10036436 w 12207100"/>
              <a:gd name="connsiteY8" fmla="*/ 4909574 h 6968330"/>
              <a:gd name="connsiteX9" fmla="*/ 13957 w 12207100"/>
              <a:gd name="connsiteY9" fmla="*/ 15875 h 6968330"/>
              <a:gd name="connsiteX10" fmla="*/ 12202044 w 12207100"/>
              <a:gd name="connsiteY10" fmla="*/ 0 h 6968330"/>
              <a:gd name="connsiteX11" fmla="*/ 12194104 w 12207100"/>
              <a:gd name="connsiteY11" fmla="*/ 2105412 h 6968330"/>
              <a:gd name="connsiteX12" fmla="*/ 2272863 w 12207100"/>
              <a:gd name="connsiteY12" fmla="*/ 2103860 h 6968330"/>
              <a:gd name="connsiteX13" fmla="*/ 0 w 12207100"/>
              <a:gd name="connsiteY13" fmla="*/ 2105146 h 6968330"/>
              <a:gd name="connsiteX14" fmla="*/ 13957 w 12207100"/>
              <a:gd name="connsiteY14" fmla="*/ 15875 h 6968330"/>
              <a:gd name="connsiteX0" fmla="*/ 10036436 w 12207100"/>
              <a:gd name="connsiteY0" fmla="*/ 4909574 h 6857894"/>
              <a:gd name="connsiteX1" fmla="*/ 12203632 w 12207100"/>
              <a:gd name="connsiteY1" fmla="*/ 4910652 h 6857894"/>
              <a:gd name="connsiteX2" fmla="*/ 12207100 w 12207100"/>
              <a:gd name="connsiteY2" fmla="*/ 6857894 h 6857894"/>
              <a:gd name="connsiteX3" fmla="*/ 13603 w 12207100"/>
              <a:gd name="connsiteY3" fmla="*/ 6857894 h 6857894"/>
              <a:gd name="connsiteX4" fmla="*/ 2261625 w 12207100"/>
              <a:gd name="connsiteY4" fmla="*/ 4903726 h 6857894"/>
              <a:gd name="connsiteX5" fmla="*/ 9103921 w 12207100"/>
              <a:gd name="connsiteY5" fmla="*/ 4904517 h 6857894"/>
              <a:gd name="connsiteX6" fmla="*/ 9105555 w 12207100"/>
              <a:gd name="connsiteY6" fmla="*/ 5845391 h 6857894"/>
              <a:gd name="connsiteX7" fmla="*/ 10039425 w 12207100"/>
              <a:gd name="connsiteY7" fmla="*/ 5845298 h 6857894"/>
              <a:gd name="connsiteX8" fmla="*/ 10036436 w 12207100"/>
              <a:gd name="connsiteY8" fmla="*/ 4909574 h 6857894"/>
              <a:gd name="connsiteX9" fmla="*/ 13957 w 12207100"/>
              <a:gd name="connsiteY9" fmla="*/ 15875 h 6857894"/>
              <a:gd name="connsiteX10" fmla="*/ 12202044 w 12207100"/>
              <a:gd name="connsiteY10" fmla="*/ 0 h 6857894"/>
              <a:gd name="connsiteX11" fmla="*/ 12194104 w 12207100"/>
              <a:gd name="connsiteY11" fmla="*/ 2105412 h 6857894"/>
              <a:gd name="connsiteX12" fmla="*/ 2272863 w 12207100"/>
              <a:gd name="connsiteY12" fmla="*/ 2103860 h 6857894"/>
              <a:gd name="connsiteX13" fmla="*/ 0 w 12207100"/>
              <a:gd name="connsiteY13" fmla="*/ 2105146 h 6857894"/>
              <a:gd name="connsiteX14" fmla="*/ 13957 w 12207100"/>
              <a:gd name="connsiteY14" fmla="*/ 15875 h 6857894"/>
              <a:gd name="connsiteX0" fmla="*/ 10036436 w 12207100"/>
              <a:gd name="connsiteY0" fmla="*/ 4909574 h 6857894"/>
              <a:gd name="connsiteX1" fmla="*/ 12203632 w 12207100"/>
              <a:gd name="connsiteY1" fmla="*/ 4910652 h 6857894"/>
              <a:gd name="connsiteX2" fmla="*/ 12207100 w 12207100"/>
              <a:gd name="connsiteY2" fmla="*/ 6857894 h 6857894"/>
              <a:gd name="connsiteX3" fmla="*/ 13603 w 12207100"/>
              <a:gd name="connsiteY3" fmla="*/ 6857894 h 6857894"/>
              <a:gd name="connsiteX4" fmla="*/ 6735 w 12207100"/>
              <a:gd name="connsiteY4" fmla="*/ 4906974 h 6857894"/>
              <a:gd name="connsiteX5" fmla="*/ 9103921 w 12207100"/>
              <a:gd name="connsiteY5" fmla="*/ 4904517 h 6857894"/>
              <a:gd name="connsiteX6" fmla="*/ 9105555 w 12207100"/>
              <a:gd name="connsiteY6" fmla="*/ 5845391 h 6857894"/>
              <a:gd name="connsiteX7" fmla="*/ 10039425 w 12207100"/>
              <a:gd name="connsiteY7" fmla="*/ 5845298 h 6857894"/>
              <a:gd name="connsiteX8" fmla="*/ 10036436 w 12207100"/>
              <a:gd name="connsiteY8" fmla="*/ 4909574 h 6857894"/>
              <a:gd name="connsiteX9" fmla="*/ 13957 w 12207100"/>
              <a:gd name="connsiteY9" fmla="*/ 15875 h 6857894"/>
              <a:gd name="connsiteX10" fmla="*/ 12202044 w 12207100"/>
              <a:gd name="connsiteY10" fmla="*/ 0 h 6857894"/>
              <a:gd name="connsiteX11" fmla="*/ 12194104 w 12207100"/>
              <a:gd name="connsiteY11" fmla="*/ 2105412 h 6857894"/>
              <a:gd name="connsiteX12" fmla="*/ 2272863 w 12207100"/>
              <a:gd name="connsiteY12" fmla="*/ 2103860 h 6857894"/>
              <a:gd name="connsiteX13" fmla="*/ 0 w 12207100"/>
              <a:gd name="connsiteY13" fmla="*/ 2105146 h 6857894"/>
              <a:gd name="connsiteX14" fmla="*/ 13957 w 12207100"/>
              <a:gd name="connsiteY14" fmla="*/ 15875 h 6857894"/>
              <a:gd name="connsiteX0" fmla="*/ 10036436 w 12207100"/>
              <a:gd name="connsiteY0" fmla="*/ 4909574 h 6857894"/>
              <a:gd name="connsiteX1" fmla="*/ 12203632 w 12207100"/>
              <a:gd name="connsiteY1" fmla="*/ 4910652 h 6857894"/>
              <a:gd name="connsiteX2" fmla="*/ 12207100 w 12207100"/>
              <a:gd name="connsiteY2" fmla="*/ 6857894 h 6857894"/>
              <a:gd name="connsiteX3" fmla="*/ 13603 w 12207100"/>
              <a:gd name="connsiteY3" fmla="*/ 6857894 h 6857894"/>
              <a:gd name="connsiteX4" fmla="*/ 6735 w 12207100"/>
              <a:gd name="connsiteY4" fmla="*/ 4906974 h 6857894"/>
              <a:gd name="connsiteX5" fmla="*/ 9103921 w 12207100"/>
              <a:gd name="connsiteY5" fmla="*/ 4971577 h 6857894"/>
              <a:gd name="connsiteX6" fmla="*/ 9105555 w 12207100"/>
              <a:gd name="connsiteY6" fmla="*/ 5845391 h 6857894"/>
              <a:gd name="connsiteX7" fmla="*/ 10039425 w 12207100"/>
              <a:gd name="connsiteY7" fmla="*/ 5845298 h 6857894"/>
              <a:gd name="connsiteX8" fmla="*/ 10036436 w 12207100"/>
              <a:gd name="connsiteY8" fmla="*/ 4909574 h 6857894"/>
              <a:gd name="connsiteX9" fmla="*/ 13957 w 12207100"/>
              <a:gd name="connsiteY9" fmla="*/ 15875 h 6857894"/>
              <a:gd name="connsiteX10" fmla="*/ 12202044 w 12207100"/>
              <a:gd name="connsiteY10" fmla="*/ 0 h 6857894"/>
              <a:gd name="connsiteX11" fmla="*/ 12194104 w 12207100"/>
              <a:gd name="connsiteY11" fmla="*/ 2105412 h 6857894"/>
              <a:gd name="connsiteX12" fmla="*/ 2272863 w 12207100"/>
              <a:gd name="connsiteY12" fmla="*/ 2103860 h 6857894"/>
              <a:gd name="connsiteX13" fmla="*/ 0 w 12207100"/>
              <a:gd name="connsiteY13" fmla="*/ 2105146 h 6857894"/>
              <a:gd name="connsiteX14" fmla="*/ 13957 w 12207100"/>
              <a:gd name="connsiteY14" fmla="*/ 15875 h 6857894"/>
              <a:gd name="connsiteX0" fmla="*/ 10036436 w 12207100"/>
              <a:gd name="connsiteY0" fmla="*/ 4909574 h 6857894"/>
              <a:gd name="connsiteX1" fmla="*/ 12203632 w 12207100"/>
              <a:gd name="connsiteY1" fmla="*/ 4910652 h 6857894"/>
              <a:gd name="connsiteX2" fmla="*/ 12207100 w 12207100"/>
              <a:gd name="connsiteY2" fmla="*/ 6857894 h 6857894"/>
              <a:gd name="connsiteX3" fmla="*/ 13603 w 12207100"/>
              <a:gd name="connsiteY3" fmla="*/ 6857894 h 6857894"/>
              <a:gd name="connsiteX4" fmla="*/ 6735 w 12207100"/>
              <a:gd name="connsiteY4" fmla="*/ 4906974 h 6857894"/>
              <a:gd name="connsiteX5" fmla="*/ 9103921 w 12207100"/>
              <a:gd name="connsiteY5" fmla="*/ 4908708 h 6857894"/>
              <a:gd name="connsiteX6" fmla="*/ 9105555 w 12207100"/>
              <a:gd name="connsiteY6" fmla="*/ 5845391 h 6857894"/>
              <a:gd name="connsiteX7" fmla="*/ 10039425 w 12207100"/>
              <a:gd name="connsiteY7" fmla="*/ 5845298 h 6857894"/>
              <a:gd name="connsiteX8" fmla="*/ 10036436 w 12207100"/>
              <a:gd name="connsiteY8" fmla="*/ 4909574 h 6857894"/>
              <a:gd name="connsiteX9" fmla="*/ 13957 w 12207100"/>
              <a:gd name="connsiteY9" fmla="*/ 15875 h 6857894"/>
              <a:gd name="connsiteX10" fmla="*/ 12202044 w 12207100"/>
              <a:gd name="connsiteY10" fmla="*/ 0 h 6857894"/>
              <a:gd name="connsiteX11" fmla="*/ 12194104 w 12207100"/>
              <a:gd name="connsiteY11" fmla="*/ 2105412 h 6857894"/>
              <a:gd name="connsiteX12" fmla="*/ 2272863 w 12207100"/>
              <a:gd name="connsiteY12" fmla="*/ 2103860 h 6857894"/>
              <a:gd name="connsiteX13" fmla="*/ 0 w 12207100"/>
              <a:gd name="connsiteY13" fmla="*/ 2105146 h 6857894"/>
              <a:gd name="connsiteX14" fmla="*/ 13957 w 12207100"/>
              <a:gd name="connsiteY14" fmla="*/ 15875 h 6857894"/>
              <a:gd name="connsiteX0" fmla="*/ 10036436 w 12219726"/>
              <a:gd name="connsiteY0" fmla="*/ 4909574 h 6857894"/>
              <a:gd name="connsiteX1" fmla="*/ 12203632 w 12219726"/>
              <a:gd name="connsiteY1" fmla="*/ 4910652 h 6857894"/>
              <a:gd name="connsiteX2" fmla="*/ 12207100 w 12219726"/>
              <a:gd name="connsiteY2" fmla="*/ 6857894 h 6857894"/>
              <a:gd name="connsiteX3" fmla="*/ 13603 w 12219726"/>
              <a:gd name="connsiteY3" fmla="*/ 6857894 h 6857894"/>
              <a:gd name="connsiteX4" fmla="*/ 6735 w 12219726"/>
              <a:gd name="connsiteY4" fmla="*/ 4906974 h 6857894"/>
              <a:gd name="connsiteX5" fmla="*/ 9103921 w 12219726"/>
              <a:gd name="connsiteY5" fmla="*/ 4908708 h 6857894"/>
              <a:gd name="connsiteX6" fmla="*/ 9105555 w 12219726"/>
              <a:gd name="connsiteY6" fmla="*/ 5845391 h 6857894"/>
              <a:gd name="connsiteX7" fmla="*/ 10039425 w 12219726"/>
              <a:gd name="connsiteY7" fmla="*/ 5845298 h 6857894"/>
              <a:gd name="connsiteX8" fmla="*/ 10036436 w 12219726"/>
              <a:gd name="connsiteY8" fmla="*/ 4909574 h 6857894"/>
              <a:gd name="connsiteX9" fmla="*/ 13957 w 12219726"/>
              <a:gd name="connsiteY9" fmla="*/ 15875 h 6857894"/>
              <a:gd name="connsiteX10" fmla="*/ 12202044 w 12219726"/>
              <a:gd name="connsiteY10" fmla="*/ 0 h 6857894"/>
              <a:gd name="connsiteX11" fmla="*/ 12219512 w 12219726"/>
              <a:gd name="connsiteY11" fmla="*/ 2105412 h 6857894"/>
              <a:gd name="connsiteX12" fmla="*/ 2272863 w 12219726"/>
              <a:gd name="connsiteY12" fmla="*/ 2103860 h 6857894"/>
              <a:gd name="connsiteX13" fmla="*/ 0 w 12219726"/>
              <a:gd name="connsiteY13" fmla="*/ 2105146 h 6857894"/>
              <a:gd name="connsiteX14" fmla="*/ 13957 w 12219726"/>
              <a:gd name="connsiteY14" fmla="*/ 15875 h 685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219726" h="6857894">
                <a:moveTo>
                  <a:pt x="10036436" y="4909574"/>
                </a:moveTo>
                <a:lnTo>
                  <a:pt x="12203632" y="4910652"/>
                </a:lnTo>
                <a:cubicBezTo>
                  <a:pt x="12204691" y="5623003"/>
                  <a:pt x="12206041" y="6145543"/>
                  <a:pt x="12207100" y="6857894"/>
                </a:cubicBezTo>
                <a:lnTo>
                  <a:pt x="13603" y="6857894"/>
                </a:lnTo>
                <a:cubicBezTo>
                  <a:pt x="12397" y="6169693"/>
                  <a:pt x="7941" y="5595175"/>
                  <a:pt x="6735" y="4906974"/>
                </a:cubicBezTo>
                <a:lnTo>
                  <a:pt x="9103921" y="4908708"/>
                </a:lnTo>
                <a:cubicBezTo>
                  <a:pt x="9105947" y="5230283"/>
                  <a:pt x="9103529" y="5523816"/>
                  <a:pt x="9105555" y="5845391"/>
                </a:cubicBezTo>
                <a:lnTo>
                  <a:pt x="10039425" y="5845298"/>
                </a:lnTo>
                <a:cubicBezTo>
                  <a:pt x="10037184" y="5521047"/>
                  <a:pt x="10038677" y="5233825"/>
                  <a:pt x="10036436" y="4909574"/>
                </a:cubicBezTo>
                <a:close/>
                <a:moveTo>
                  <a:pt x="13957" y="15875"/>
                </a:moveTo>
                <a:lnTo>
                  <a:pt x="12202044" y="0"/>
                </a:lnTo>
                <a:cubicBezTo>
                  <a:pt x="12199397" y="701804"/>
                  <a:pt x="12222159" y="1403608"/>
                  <a:pt x="12219512" y="2105412"/>
                </a:cubicBezTo>
                <a:lnTo>
                  <a:pt x="2272863" y="2103860"/>
                </a:lnTo>
                <a:cubicBezTo>
                  <a:pt x="2273504" y="2097674"/>
                  <a:pt x="-641" y="2111332"/>
                  <a:pt x="0" y="2105146"/>
                </a:cubicBezTo>
                <a:cubicBezTo>
                  <a:pt x="4652" y="1408722"/>
                  <a:pt x="9305" y="712299"/>
                  <a:pt x="13957" y="15875"/>
                </a:cubicBezTo>
                <a:close/>
              </a:path>
            </a:pathLst>
          </a:custGeom>
          <a:solidFill>
            <a:schemeClr val="bg1"/>
          </a:solidFill>
          <a:ln w="1079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439738" y="4962525"/>
            <a:ext cx="6283325" cy="628067"/>
          </a:xfrm>
        </p:spPr>
        <p:txBody>
          <a:bodyPr lIns="0" tIns="0" rIns="0" bIns="0" anchor="b">
            <a:noAutofit/>
          </a:bodyPr>
          <a:lstStyle>
            <a:lvl1pPr algn="l">
              <a:defRPr sz="2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39200" y="5608799"/>
            <a:ext cx="6283863" cy="276999"/>
          </a:xfrm>
        </p:spPr>
        <p:txBody>
          <a:bodyPr lIns="0" tIns="0" rIns="0" bIns="0">
            <a:no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270" b="42050"/>
          <a:stretch/>
        </p:blipFill>
        <p:spPr>
          <a:xfrm>
            <a:off x="-5953" y="1867988"/>
            <a:ext cx="12199144" cy="3122023"/>
          </a:xfrm>
          <a:prstGeom prst="rect">
            <a:avLst/>
          </a:prstGeom>
        </p:spPr>
      </p:pic>
      <p:sp>
        <p:nvSpPr>
          <p:cNvPr id="8" name="Untertitel 2"/>
          <p:cNvSpPr txBox="1">
            <a:spLocks/>
          </p:cNvSpPr>
          <p:nvPr/>
        </p:nvSpPr>
        <p:spPr>
          <a:xfrm rot="16200000">
            <a:off x="11584442" y="4307194"/>
            <a:ext cx="1031105" cy="1863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00" dirty="0" smtClean="0">
                <a:solidFill>
                  <a:schemeClr val="bg1">
                    <a:lumMod val="75000"/>
                  </a:schemeClr>
                </a:solidFill>
              </a:rPr>
              <a:t>© Andreas </a:t>
            </a:r>
            <a:r>
              <a:rPr lang="de-DE" sz="700" dirty="0" err="1" smtClean="0">
                <a:solidFill>
                  <a:schemeClr val="bg1">
                    <a:lumMod val="75000"/>
                  </a:schemeClr>
                </a:solidFill>
              </a:rPr>
              <a:t>Horsky</a:t>
            </a:r>
            <a:r>
              <a:rPr lang="de-DE" sz="700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endParaRPr lang="de-DE" sz="700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16" name="Gruppieren 15"/>
          <p:cNvGrpSpPr/>
          <p:nvPr userDrawn="1"/>
        </p:nvGrpSpPr>
        <p:grpSpPr>
          <a:xfrm>
            <a:off x="336549" y="490995"/>
            <a:ext cx="7771468" cy="972000"/>
            <a:chOff x="336549" y="490995"/>
            <a:chExt cx="7771468" cy="972000"/>
          </a:xfrm>
        </p:grpSpPr>
        <p:pic>
          <p:nvPicPr>
            <p:cNvPr id="23" name="Picture 178" descr="C:\Users\Wa\Desktop\__FIR_2016_rgb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549" y="490995"/>
              <a:ext cx="1667343" cy="9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" name="Gerader Verbinder 4"/>
            <p:cNvCxnSpPr/>
            <p:nvPr userDrawn="1"/>
          </p:nvCxnSpPr>
          <p:spPr>
            <a:xfrm>
              <a:off x="2095500" y="548145"/>
              <a:ext cx="0" cy="828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3" name="Grafik 12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87109" y="566155"/>
              <a:ext cx="1956266" cy="834674"/>
            </a:xfrm>
            <a:prstGeom prst="rect">
              <a:avLst/>
            </a:prstGeom>
          </p:spPr>
        </p:pic>
        <p:cxnSp>
          <p:nvCxnSpPr>
            <p:cNvPr id="14" name="Gerader Verbinder 13"/>
            <p:cNvCxnSpPr/>
            <p:nvPr userDrawn="1"/>
          </p:nvCxnSpPr>
          <p:spPr>
            <a:xfrm>
              <a:off x="4276725" y="548145"/>
              <a:ext cx="0" cy="828000"/>
            </a:xfrm>
            <a:prstGeom prst="line">
              <a:avLst/>
            </a:prstGeom>
            <a:ln w="127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Grafik 14"/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6592" y="528420"/>
              <a:ext cx="3781425" cy="8667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658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63772" y="6514685"/>
            <a:ext cx="8256627" cy="2385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11986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63772" y="6514685"/>
            <a:ext cx="8256627" cy="2385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35109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39739" y="1628775"/>
            <a:ext cx="5518800" cy="48244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224020" y="1628775"/>
            <a:ext cx="5518800" cy="482441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63772" y="6514685"/>
            <a:ext cx="8256627" cy="2385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398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smtClean="0"/>
              <a:t>Seite </a:t>
            </a:r>
            <a:fld id="{0CFEC368-1D7A-4F81-ABF6-AE0E36BAF64C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>
          <a:xfrm>
            <a:off x="439738" y="3294987"/>
            <a:ext cx="9061894" cy="1429384"/>
          </a:xfrm>
        </p:spPr>
        <p:txBody>
          <a:bodyPr>
            <a:normAutofit/>
          </a:bodyPr>
          <a:lstStyle>
            <a:lvl1pPr>
              <a:defRPr sz="30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274324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71832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0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9" name="Grafik 18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500" y="770880"/>
            <a:ext cx="1981730" cy="454251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39738" y="492125"/>
            <a:ext cx="9580562" cy="561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0398" y="1628776"/>
            <a:ext cx="11295990" cy="4824412"/>
          </a:xfrm>
          <a:prstGeom prst="rect">
            <a:avLst/>
          </a:prstGeom>
        </p:spPr>
        <p:txBody>
          <a:bodyPr vert="horz" lIns="0" tIns="0" rIns="180000" bIns="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33850" y="6514685"/>
            <a:ext cx="6686549" cy="2385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58525" y="6558756"/>
            <a:ext cx="687388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Seite </a:t>
            </a:r>
            <a:fld id="{0CFEC368-1D7A-4F81-ABF6-AE0E36BAF64C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449923" y="6536498"/>
            <a:ext cx="4074452" cy="144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chemeClr val="accent2"/>
                </a:solidFill>
                <a:miter lim="800000"/>
                <a:headEnd/>
                <a:tailEnd type="none" w="med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36000" rIns="36000" bIns="0">
            <a:spAutoFit/>
          </a:bodyPr>
          <a:lstStyle>
            <a:lvl1pPr defTabSz="1042988">
              <a:defRPr>
                <a:solidFill>
                  <a:schemeClr val="tx1"/>
                </a:solidFill>
                <a:latin typeface="Arial" charset="0"/>
              </a:defRPr>
            </a:lvl1pPr>
            <a:lvl2pPr marL="522288" defTabSz="1042988">
              <a:defRPr>
                <a:solidFill>
                  <a:schemeClr val="tx1"/>
                </a:solidFill>
                <a:latin typeface="Arial" charset="0"/>
              </a:defRPr>
            </a:lvl2pPr>
            <a:lvl3pPr marL="1042988" defTabSz="1042988">
              <a:defRPr>
                <a:solidFill>
                  <a:schemeClr val="tx1"/>
                </a:solidFill>
                <a:latin typeface="Arial" charset="0"/>
              </a:defRPr>
            </a:lvl3pPr>
            <a:lvl4pPr marL="1565275" defTabSz="1042988">
              <a:defRPr>
                <a:solidFill>
                  <a:schemeClr val="tx1"/>
                </a:solidFill>
                <a:latin typeface="Arial" charset="0"/>
              </a:defRPr>
            </a:lvl4pPr>
            <a:lvl5pPr marL="2085975" defTabSz="1042988">
              <a:defRPr>
                <a:solidFill>
                  <a:schemeClr val="tx1"/>
                </a:solidFill>
                <a:latin typeface="Arial" charset="0"/>
              </a:defRPr>
            </a:lvl5pPr>
            <a:lvl6pPr marL="25431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30003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575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14775" defTabSz="10429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defRPr/>
            </a:pPr>
            <a:r>
              <a:rPr lang="de-DE" sz="700" b="0" i="0" u="none" strike="noStrike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© FIR e. V. an der RWTH </a:t>
            </a:r>
            <a:r>
              <a:rPr lang="de-DE" sz="700" b="0" i="0" u="none" strike="noStrike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Aachen, GreenGate AG und Center </a:t>
            </a:r>
            <a:r>
              <a:rPr lang="de-DE" sz="700" b="0" i="0" u="none" strike="noStrike" kern="1200" baseline="0" dirty="0" err="1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for</a:t>
            </a:r>
            <a:r>
              <a:rPr lang="de-DE" sz="700" b="0" i="0" u="none" strike="noStrike" kern="1200" baseline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Wind Power Drives</a:t>
            </a:r>
            <a:endParaRPr lang="de-DE" sz="700" dirty="0" smtClean="0"/>
          </a:p>
        </p:txBody>
      </p:sp>
      <p:pic>
        <p:nvPicPr>
          <p:cNvPr id="11" name="Picture 178" descr="C:\Users\Wa\Desktop\__FIR_2016_rgb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500" y="290528"/>
            <a:ext cx="885825" cy="516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8525" y="339152"/>
            <a:ext cx="982401" cy="419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821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3" r:id="rId1"/>
    <p:sldLayoutId id="2147483974" r:id="rId2"/>
    <p:sldLayoutId id="2147483978" r:id="rId3"/>
    <p:sldLayoutId id="2147483976" r:id="rId4"/>
    <p:sldLayoutId id="2147483979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accent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6700" indent="-266700" algn="l" defTabSz="914400" rtl="0" eaLnBrk="1" latinLnBrk="0" hangingPunct="1">
        <a:spcBef>
          <a:spcPts val="0"/>
        </a:spcBef>
        <a:spcAft>
          <a:spcPts val="1200"/>
        </a:spcAft>
        <a:buSzPct val="12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42925" indent="-276225" algn="l" defTabSz="914400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09625" indent="-266700" algn="l" defTabSz="914400" rtl="0" eaLnBrk="1" latinLnBrk="0" hangingPunct="1">
        <a:spcBef>
          <a:spcPts val="0"/>
        </a:spcBef>
        <a:spcAft>
          <a:spcPts val="1200"/>
        </a:spcAft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803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5" imgW="592" imgH="588" progId="TCLayout.ActiveDocument.1">
                  <p:embed/>
                </p:oleObj>
              </mc:Choice>
              <mc:Fallback>
                <p:oleObj name="think-cell Folie" r:id="rId5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000" b="1" i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Konzept WAB-Arbeitskreis </a:t>
            </a:r>
            <a:r>
              <a:rPr lang="de-DE" i="1" dirty="0" smtClean="0"/>
              <a:t>Digitale Transformation</a:t>
            </a:r>
            <a:endParaRPr lang="de-DE" i="1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333375" y="5816281"/>
            <a:ext cx="1550104" cy="492443"/>
          </a:xfrm>
        </p:spPr>
        <p:txBody>
          <a:bodyPr wrap="none">
            <a:spAutoFit/>
          </a:bodyPr>
          <a:lstStyle/>
          <a:p>
            <a:r>
              <a:rPr lang="de-DE" sz="1600" dirty="0" smtClean="0"/>
              <a:t>GreenGate AG</a:t>
            </a:r>
          </a:p>
          <a:p>
            <a:r>
              <a:rPr lang="de-DE" sz="1600" i="1" dirty="0" smtClean="0"/>
              <a:t>Frank Lagemann</a:t>
            </a:r>
          </a:p>
        </p:txBody>
      </p:sp>
      <p:sp>
        <p:nvSpPr>
          <p:cNvPr id="7" name="Untertitel 2"/>
          <p:cNvSpPr txBox="1">
            <a:spLocks/>
          </p:cNvSpPr>
          <p:nvPr/>
        </p:nvSpPr>
        <p:spPr>
          <a:xfrm>
            <a:off x="2341059" y="5816281"/>
            <a:ext cx="3295774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20000"/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smtClean="0"/>
              <a:t>FIR e.V. an der RWTH Aachen</a:t>
            </a:r>
          </a:p>
          <a:p>
            <a:r>
              <a:rPr lang="de-DE" sz="1600" i="1" dirty="0" smtClean="0"/>
              <a:t>Lennard Holst und Felix Optehostert</a:t>
            </a:r>
            <a:endParaRPr lang="de-DE" sz="1600" i="1" dirty="0" smtClean="0"/>
          </a:p>
        </p:txBody>
      </p:sp>
      <p:sp>
        <p:nvSpPr>
          <p:cNvPr id="6" name="Untertitel 2"/>
          <p:cNvSpPr txBox="1">
            <a:spLocks/>
          </p:cNvSpPr>
          <p:nvPr/>
        </p:nvSpPr>
        <p:spPr>
          <a:xfrm>
            <a:off x="6094413" y="5816281"/>
            <a:ext cx="2713884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20000"/>
              <a:buFont typeface="Wingdings" panose="05000000000000000000" pitchFamily="2" charset="2"/>
              <a:buNone/>
              <a:defRPr sz="18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 smtClean="0"/>
              <a:t>Center </a:t>
            </a:r>
            <a:r>
              <a:rPr lang="de-DE" sz="1600" dirty="0" err="1" smtClean="0"/>
              <a:t>for</a:t>
            </a:r>
            <a:r>
              <a:rPr lang="de-DE" sz="1600" dirty="0" smtClean="0"/>
              <a:t> Wind Power Drives</a:t>
            </a:r>
          </a:p>
          <a:p>
            <a:r>
              <a:rPr lang="de-DE" sz="1600" i="1" dirty="0" smtClean="0"/>
              <a:t>N.N.</a:t>
            </a:r>
            <a:endParaRPr lang="de-DE" sz="1600" i="1" dirty="0" smtClean="0"/>
          </a:p>
        </p:txBody>
      </p:sp>
    </p:spTree>
    <p:extLst>
      <p:ext uri="{BB962C8B-B14F-4D97-AF65-F5344CB8AC3E}">
        <p14:creationId xmlns:p14="http://schemas.microsoft.com/office/powerpoint/2010/main" val="190575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417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5" imgW="592" imgH="588" progId="TCLayout.ActiveDocument.1">
                  <p:embed/>
                </p:oleObj>
              </mc:Choice>
              <mc:Fallback>
                <p:oleObj name="think-cell Folie" r:id="rId5" imgW="592" imgH="58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Der </a:t>
            </a:r>
            <a:r>
              <a:rPr lang="de-DE" dirty="0" smtClean="0"/>
              <a:t>WAB-Arbeitskreis </a:t>
            </a:r>
            <a:r>
              <a:rPr lang="de-DE" i="1" dirty="0" smtClean="0"/>
              <a:t>Digitale Transformation</a:t>
            </a:r>
            <a:r>
              <a:rPr lang="de-DE" dirty="0" smtClean="0"/>
              <a:t> ist eine Plattform </a:t>
            </a:r>
            <a:r>
              <a:rPr lang="de-DE" dirty="0"/>
              <a:t>für Personen, die sich in ihrer täglichen Arbeit mit dem Thema </a:t>
            </a:r>
            <a:r>
              <a:rPr lang="de-DE" dirty="0" smtClean="0"/>
              <a:t>Digitalisierung in der Windenenergie befass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feld 13"/>
          <p:cNvSpPr txBox="1"/>
          <p:nvPr/>
        </p:nvSpPr>
        <p:spPr>
          <a:xfrm>
            <a:off x="345057" y="1280299"/>
            <a:ext cx="36599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b="1" dirty="0" smtClean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bkonzept und Ordnungsrahmen</a:t>
            </a:r>
            <a:endParaRPr lang="de-DE" sz="1600" b="1" dirty="0">
              <a:solidFill>
                <a:schemeClr val="accent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7" name="Gruppieren 26"/>
          <p:cNvGrpSpPr/>
          <p:nvPr/>
        </p:nvGrpSpPr>
        <p:grpSpPr>
          <a:xfrm>
            <a:off x="2674413" y="1654945"/>
            <a:ext cx="6840000" cy="4321313"/>
            <a:chOff x="2674413" y="1654945"/>
            <a:chExt cx="6840000" cy="4321313"/>
          </a:xfrm>
        </p:grpSpPr>
        <p:sp>
          <p:nvSpPr>
            <p:cNvPr id="23" name="Rechteck 22"/>
            <p:cNvSpPr/>
            <p:nvPr/>
          </p:nvSpPr>
          <p:spPr>
            <a:xfrm>
              <a:off x="2674413" y="4986305"/>
              <a:ext cx="6840000" cy="4653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insatz </a:t>
              </a:r>
              <a:r>
                <a:rPr lang="de-DE" sz="1400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uer </a:t>
              </a:r>
              <a:r>
                <a:rPr lang="de-DE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chnologien: </a:t>
              </a:r>
              <a:r>
                <a:rPr lang="de-DE" sz="1400" dirty="0" err="1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gmented</a:t>
              </a:r>
              <a:r>
                <a:rPr lang="de-DE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Reality, Drohnen</a:t>
              </a:r>
              <a:r>
                <a:rPr lang="de-DE" sz="1400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de-DE" sz="1400" dirty="0" err="1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lockchain</a:t>
              </a:r>
              <a:r>
                <a:rPr lang="de-DE" sz="1400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…</a:t>
              </a:r>
              <a:endParaRPr lang="de-DE" sz="14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hteck 23"/>
            <p:cNvSpPr/>
            <p:nvPr/>
          </p:nvSpPr>
          <p:spPr>
            <a:xfrm>
              <a:off x="2674413" y="5510935"/>
              <a:ext cx="6840000" cy="4653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gitale Entwicklung, Produktion und Projektierung</a:t>
              </a:r>
            </a:p>
          </p:txBody>
        </p:sp>
        <p:grpSp>
          <p:nvGrpSpPr>
            <p:cNvPr id="26" name="Gruppieren 25"/>
            <p:cNvGrpSpPr/>
            <p:nvPr/>
          </p:nvGrpSpPr>
          <p:grpSpPr>
            <a:xfrm>
              <a:off x="2674413" y="1654945"/>
              <a:ext cx="6840000" cy="3272054"/>
              <a:chOff x="2674413" y="1654945"/>
              <a:chExt cx="6840000" cy="3272054"/>
            </a:xfrm>
          </p:grpSpPr>
          <p:sp>
            <p:nvSpPr>
              <p:cNvPr id="18" name="Gleichschenkliges Dreieck 17"/>
              <p:cNvSpPr/>
              <p:nvPr/>
            </p:nvSpPr>
            <p:spPr>
              <a:xfrm>
                <a:off x="2674413" y="1654945"/>
                <a:ext cx="6840000" cy="757408"/>
              </a:xfrm>
              <a:prstGeom prst="triangle">
                <a:avLst/>
              </a:prstGeom>
              <a:solidFill>
                <a:schemeClr val="accent2"/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b"/>
              <a:lstStyle/>
              <a:p>
                <a:pPr algn="ctr"/>
                <a:r>
                  <a:rPr lang="de-DE" sz="1400" dirty="0" smtClean="0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gitale Geschäftsmodelle </a:t>
                </a:r>
              </a:p>
              <a:p>
                <a:pPr algn="ctr"/>
                <a:r>
                  <a:rPr lang="de-DE" sz="1400" dirty="0" smtClean="0">
                    <a:solidFill>
                      <a:schemeClr val="bg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nd digitale Plattformen</a:t>
                </a:r>
                <a:endParaRPr lang="de-DE" sz="1400" dirty="0">
                  <a:solidFill>
                    <a:schemeClr val="bg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Rechteck 18"/>
              <p:cNvSpPr/>
              <p:nvPr/>
            </p:nvSpPr>
            <p:spPr>
              <a:xfrm>
                <a:off x="2674413" y="2412353"/>
                <a:ext cx="3420000" cy="158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714375"/>
                <a:r>
                  <a:rPr lang="de-DE" sz="1400" dirty="0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ptimierte</a:t>
                </a:r>
              </a:p>
              <a:p>
                <a:pPr marL="714375"/>
                <a:r>
                  <a:rPr lang="de-DE" sz="1400" dirty="0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etriebsführung</a:t>
                </a:r>
              </a:p>
            </p:txBody>
          </p:sp>
          <p:sp>
            <p:nvSpPr>
              <p:cNvPr id="20" name="Rechteck 19"/>
              <p:cNvSpPr/>
              <p:nvPr/>
            </p:nvSpPr>
            <p:spPr>
              <a:xfrm>
                <a:off x="6094413" y="2412353"/>
                <a:ext cx="3420000" cy="15840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714375"/>
                <a:r>
                  <a:rPr lang="de-DE" sz="1400" dirty="0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ädiktive </a:t>
                </a:r>
                <a:endParaRPr lang="de-DE" sz="1400" dirty="0" smtClean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714375"/>
                <a:r>
                  <a:rPr lang="de-DE" sz="1400" dirty="0" smtClean="0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tandhaltung</a:t>
                </a:r>
                <a:endParaRPr lang="de-DE" sz="14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Rechteck 20"/>
              <p:cNvSpPr/>
              <p:nvPr/>
            </p:nvSpPr>
            <p:spPr>
              <a:xfrm>
                <a:off x="2674413" y="3996353"/>
                <a:ext cx="6840000" cy="46532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400" dirty="0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igitaler Schatten</a:t>
                </a:r>
              </a:p>
            </p:txBody>
          </p:sp>
          <p:sp>
            <p:nvSpPr>
              <p:cNvPr id="22" name="Rechteck 21"/>
              <p:cNvSpPr/>
              <p:nvPr/>
            </p:nvSpPr>
            <p:spPr>
              <a:xfrm>
                <a:off x="2674413" y="4461676"/>
                <a:ext cx="6840000" cy="465323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1905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de-DE" sz="1400" dirty="0">
                    <a:solidFill>
                      <a:schemeClr val="accent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atenübertragung, Datenanalyse und Datensicherheit</a:t>
                </a:r>
              </a:p>
            </p:txBody>
          </p:sp>
          <p:pic>
            <p:nvPicPr>
              <p:cNvPr id="1030" name="Picture 6" descr="O:\_FIR-Standards\Vorlagen+Dokumente\FIR_Praesentationsvorlage\Icondatenbank\Icondatenbank-Inhalte\o_collection_png\blue_dark_grey\256x256\chart_line.png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16290" y="2798253"/>
                <a:ext cx="756000" cy="75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2" name="Picture 8" descr="O:\_FIR-Standards\Vorlagen+Dokumente\FIR_Praesentationsvorlage\Icondatenbank\Icondatenbank-Inhalte\o_collection_png\blue_dark_grey\256x256\toolbox.png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417194" y="2798253"/>
                <a:ext cx="756000" cy="756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25" name="Abgerundete rechteckige Legende 24"/>
          <p:cNvSpPr/>
          <p:nvPr/>
        </p:nvSpPr>
        <p:spPr>
          <a:xfrm>
            <a:off x="9650477" y="4331997"/>
            <a:ext cx="1538817" cy="512992"/>
          </a:xfrm>
          <a:prstGeom prst="wedgeRoundRectCallout">
            <a:avLst>
              <a:gd name="adj1" fmla="val -63432"/>
              <a:gd name="adj2" fmla="val 36006"/>
              <a:gd name="adj3" fmla="val 16667"/>
            </a:avLst>
          </a:prstGeom>
          <a:solidFill>
            <a:schemeClr val="bg2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inheitliche </a:t>
            </a: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atenstandards</a:t>
            </a:r>
            <a:endParaRPr lang="de-DE" sz="1200" dirty="0">
              <a:solidFill>
                <a:schemeClr val="accent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0" name="Abgerundete rechteckige Legende 29"/>
          <p:cNvSpPr/>
          <p:nvPr/>
        </p:nvSpPr>
        <p:spPr>
          <a:xfrm>
            <a:off x="9650477" y="5113368"/>
            <a:ext cx="2339843" cy="1107261"/>
          </a:xfrm>
          <a:prstGeom prst="wedgeRoundRectCallout">
            <a:avLst>
              <a:gd name="adj1" fmla="val -56656"/>
              <a:gd name="adj2" fmla="val 10870"/>
              <a:gd name="adj3" fmla="val 16667"/>
            </a:avLst>
          </a:prstGeom>
          <a:solidFill>
            <a:schemeClr val="bg2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gitale Entwicklungstools</a:t>
            </a:r>
          </a:p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rchgängige Datenstruktur für  Entwicklung, Produktion und Planung</a:t>
            </a:r>
            <a:endParaRPr lang="de-DE" altLang="de-DE" sz="1200" dirty="0">
              <a:solidFill>
                <a:schemeClr val="accent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2" name="Abgerundete rechteckige Legende 31"/>
          <p:cNvSpPr/>
          <p:nvPr/>
        </p:nvSpPr>
        <p:spPr>
          <a:xfrm>
            <a:off x="333375" y="4588493"/>
            <a:ext cx="2193661" cy="922442"/>
          </a:xfrm>
          <a:prstGeom prst="wedgeRoundRectCallout">
            <a:avLst>
              <a:gd name="adj1" fmla="val 64272"/>
              <a:gd name="adj2" fmla="val 27859"/>
              <a:gd name="adj3" fmla="val 16667"/>
            </a:avLst>
          </a:prstGeom>
          <a:solidFill>
            <a:schemeClr val="bg2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timierte Windprognose</a:t>
            </a:r>
            <a:endParaRPr lang="de-DE" sz="1200" dirty="0">
              <a:solidFill>
                <a:schemeClr val="accent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 err="1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ugmented</a:t>
            </a: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Reality Standortanalyse in der Projektierung</a:t>
            </a:r>
            <a:endParaRPr lang="de-DE" altLang="de-DE" sz="1200" dirty="0">
              <a:solidFill>
                <a:schemeClr val="accent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3" name="Abgerundete rechteckige Legende 32"/>
          <p:cNvSpPr/>
          <p:nvPr/>
        </p:nvSpPr>
        <p:spPr>
          <a:xfrm>
            <a:off x="271571" y="2153880"/>
            <a:ext cx="2738329" cy="1134670"/>
          </a:xfrm>
          <a:prstGeom prst="wedgeRoundRectCallout">
            <a:avLst>
              <a:gd name="adj1" fmla="val 56954"/>
              <a:gd name="adj2" fmla="val 30321"/>
              <a:gd name="adj3" fmla="val 16667"/>
            </a:avLst>
          </a:prstGeom>
          <a:solidFill>
            <a:schemeClr val="bg2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 err="1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chine</a:t>
            </a:r>
            <a:r>
              <a:rPr lang="de-DE" sz="1200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Learning zur Optimierung der Betriebsführung &amp; prädiktiven Instandhaltung</a:t>
            </a:r>
            <a:endParaRPr lang="de-DE" altLang="de-DE" sz="1200" dirty="0">
              <a:solidFill>
                <a:schemeClr val="accent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chträgliche </a:t>
            </a:r>
            <a:r>
              <a:rPr lang="de-DE" sz="1200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bindung von älteren </a:t>
            </a: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lagen</a:t>
            </a:r>
            <a:endParaRPr lang="de-DE" sz="1200" dirty="0">
              <a:solidFill>
                <a:schemeClr val="accent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Abgerundete rechteckige Legende 33"/>
          <p:cNvSpPr/>
          <p:nvPr/>
        </p:nvSpPr>
        <p:spPr>
          <a:xfrm>
            <a:off x="8591418" y="1248971"/>
            <a:ext cx="3262445" cy="1565879"/>
          </a:xfrm>
          <a:prstGeom prst="wedgeRoundRectCallout">
            <a:avLst>
              <a:gd name="adj1" fmla="val -28642"/>
              <a:gd name="adj2" fmla="val 61710"/>
              <a:gd name="adj3" fmla="val 16667"/>
            </a:avLst>
          </a:prstGeom>
          <a:solidFill>
            <a:schemeClr val="bg2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zessdigitalisierung</a:t>
            </a:r>
            <a:r>
              <a:rPr lang="de-DE" sz="1200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Digitale, automatisierte Disposition für On- und Offshore WEA </a:t>
            </a:r>
          </a:p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rnüberwachung &amp; Schadensanalyse, </a:t>
            </a:r>
            <a:r>
              <a:rPr lang="de-DE" sz="1200" dirty="0" err="1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dition</a:t>
            </a:r>
            <a:r>
              <a:rPr lang="de-DE" sz="1200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onitoring</a:t>
            </a:r>
          </a:p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gitales Asset-Management</a:t>
            </a:r>
            <a:endParaRPr lang="de-DE" sz="1200" dirty="0">
              <a:solidFill>
                <a:schemeClr val="accent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igitales Dokumentenmanagement</a:t>
            </a:r>
          </a:p>
        </p:txBody>
      </p:sp>
      <p:sp>
        <p:nvSpPr>
          <p:cNvPr id="36" name="Abgerundete rechteckige Legende 35"/>
          <p:cNvSpPr/>
          <p:nvPr/>
        </p:nvSpPr>
        <p:spPr>
          <a:xfrm>
            <a:off x="9602729" y="3654629"/>
            <a:ext cx="1922521" cy="512992"/>
          </a:xfrm>
          <a:prstGeom prst="wedgeRoundRectCallout">
            <a:avLst>
              <a:gd name="adj1" fmla="val -59964"/>
              <a:gd name="adj2" fmla="val 39720"/>
              <a:gd name="adj3" fmla="val 16667"/>
            </a:avLst>
          </a:prstGeom>
          <a:solidFill>
            <a:schemeClr val="bg2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tIns="46800" rIns="90000" bIns="46800" rtlCol="0" anchor="ctr"/>
          <a:lstStyle/>
          <a:p>
            <a:pPr marL="180975" lvl="2" indent="-180975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accent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storische Wartungs- und Reparaturdaten </a:t>
            </a:r>
            <a:endParaRPr lang="de-DE" sz="1200" dirty="0">
              <a:solidFill>
                <a:schemeClr val="accent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059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381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Ziel des Arbeitskreis ist der aktive Austausch der Mitglieder, der Z</a:t>
            </a:r>
            <a:r>
              <a:rPr lang="de-DE" altLang="de-DE" dirty="0" smtClean="0"/>
              <a:t>ugang </a:t>
            </a:r>
            <a:r>
              <a:rPr lang="de-DE" altLang="de-DE" dirty="0"/>
              <a:t>zu aktuellem </a:t>
            </a:r>
            <a:r>
              <a:rPr lang="de-DE" altLang="de-DE" dirty="0" smtClean="0"/>
              <a:t>Wissen und dem Lernen </a:t>
            </a:r>
            <a:r>
              <a:rPr lang="de-DE" altLang="de-DE" dirty="0"/>
              <a:t>auf hohem Niveau </a:t>
            </a:r>
            <a:r>
              <a:rPr lang="de-DE" altLang="de-DE" dirty="0" smtClean="0"/>
              <a:t>auf Basis von Best Practic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342900" y="1333898"/>
            <a:ext cx="11510963" cy="4976813"/>
          </a:xfrm>
          <a:prstGeom prst="rect">
            <a:avLst/>
          </a:prstGeom>
        </p:spPr>
        <p:txBody>
          <a:bodyPr vert="horz" lIns="0" tIns="0" rIns="180000" bIns="0" rtlCol="0">
            <a:noAutofit/>
          </a:bodyPr>
          <a:lstStyle>
            <a:lvl1pPr marL="266700" indent="-2667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SzPct val="12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2925" indent="-276225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09625" indent="-2667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2"/>
              </a:buClr>
            </a:pPr>
            <a:r>
              <a:rPr lang="de-DE" altLang="de-DE" sz="1400" dirty="0" smtClean="0"/>
              <a:t>Aufbau der Treffen</a:t>
            </a:r>
          </a:p>
          <a:p>
            <a:pPr lvl="1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 altLang="de-DE" sz="1400" dirty="0" smtClean="0"/>
              <a:t>Die Treffen sollen als Workshops abgehalten werden. Ergänzend soll zu Beginn eines Treffens in das Thema eingeleitet werden. Dazu können kurze Fachvorträge von Experten dienen. </a:t>
            </a:r>
          </a:p>
          <a:p>
            <a:pPr lvl="1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 altLang="de-DE" sz="1400" dirty="0" smtClean="0"/>
              <a:t>Weiterhin </a:t>
            </a:r>
            <a:r>
              <a:rPr lang="de-DE" altLang="de-DE" sz="1400" b="1" u="sng" dirty="0" smtClean="0"/>
              <a:t>können</a:t>
            </a:r>
            <a:r>
              <a:rPr lang="de-DE" altLang="de-DE" sz="1400" dirty="0" smtClean="0"/>
              <a:t> Teilnehmer eine Kurzvorstellung ihrer Erfahrungen zum geplanten Thema auf wenigen Folien vorstellen. Für die Kurzvorstellungen wird eine Vorlage erstellt und pünktlich zur Vorbereitung des kommenden Treffens bereitgestellt.</a:t>
            </a:r>
          </a:p>
          <a:p>
            <a:pPr>
              <a:buClr>
                <a:schemeClr val="accent2"/>
              </a:buClr>
            </a:pPr>
            <a:r>
              <a:rPr lang="de-DE" altLang="de-DE" sz="1400" dirty="0" smtClean="0"/>
              <a:t>Turnus/ Frequenz</a:t>
            </a:r>
          </a:p>
          <a:p>
            <a:pPr lvl="1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 altLang="de-DE" sz="1400" dirty="0" smtClean="0"/>
              <a:t>der Arbeitskreis soll 3 bis 4 Mal pro Jahr ganztägig stattfinden.</a:t>
            </a:r>
          </a:p>
          <a:p>
            <a:pPr>
              <a:buClr>
                <a:schemeClr val="accent2"/>
              </a:buClr>
            </a:pPr>
            <a:r>
              <a:rPr lang="de-DE" altLang="de-DE" sz="1400" dirty="0" smtClean="0"/>
              <a:t>Tagungsort</a:t>
            </a:r>
          </a:p>
          <a:p>
            <a:pPr lvl="1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 altLang="de-DE" sz="1400" dirty="0" smtClean="0"/>
              <a:t>Ziel ist es,</a:t>
            </a:r>
            <a:r>
              <a:rPr lang="de-DE" altLang="de-DE" sz="1400" dirty="0"/>
              <a:t> die Treffen</a:t>
            </a:r>
            <a:r>
              <a:rPr lang="de-DE" altLang="de-DE" sz="1400" dirty="0" smtClean="0"/>
              <a:t> im Wechsel bei den Unternehmen der Mitglieder stattfinden zu lassen</a:t>
            </a:r>
          </a:p>
          <a:p>
            <a:pPr>
              <a:buClr>
                <a:schemeClr val="accent2"/>
              </a:buClr>
            </a:pPr>
            <a:r>
              <a:rPr lang="de-DE" altLang="de-DE" sz="1400" dirty="0"/>
              <a:t>Teilnehmerkreis</a:t>
            </a:r>
          </a:p>
          <a:p>
            <a:pPr lvl="1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 altLang="de-DE" sz="1400" dirty="0"/>
              <a:t>große Unternehmen die sich innovativ weiterentwickeln wollen</a:t>
            </a:r>
          </a:p>
          <a:p>
            <a:pPr lvl="1">
              <a:buClr>
                <a:schemeClr val="accent2"/>
              </a:buClr>
              <a:buFont typeface="Symbol" panose="05050102010706020507" pitchFamily="18" charset="2"/>
              <a:buChar char="-"/>
            </a:pPr>
            <a:r>
              <a:rPr lang="de-DE" altLang="de-DE" sz="1400" dirty="0" err="1"/>
              <a:t>kmU</a:t>
            </a:r>
            <a:r>
              <a:rPr lang="de-DE" altLang="de-DE" sz="1400" dirty="0"/>
              <a:t>, um von großen Unternehmen zu lernen und um sich aktiv gegenüber Wettbewerb differenzieren zu können</a:t>
            </a:r>
          </a:p>
          <a:p>
            <a:pPr>
              <a:buClr>
                <a:schemeClr val="accent2"/>
              </a:buClr>
              <a:buFont typeface="Symbol" panose="05050102010706020507" pitchFamily="18" charset="2"/>
              <a:buChar char="-"/>
            </a:pPr>
            <a:endParaRPr lang="de-DE" altLang="de-DE" sz="14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344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Rk53bTz6R0NSf8nPz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8dWEiSOSMKWjHrPBAfp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GQNP2dQAOk58CVS7xFo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vzuc5WRB2KPu110BvYiw"/>
</p:tagLst>
</file>

<file path=ppt/theme/theme1.xml><?xml version="1.0" encoding="utf-8"?>
<a:theme xmlns:a="http://schemas.openxmlformats.org/drawingml/2006/main" name="FIR-Office-Design_2016">
  <a:themeElements>
    <a:clrScheme name="FIR-Office-Farbwelt_2016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8EBAE5"/>
      </a:accent1>
      <a:accent2>
        <a:srgbClr val="00549C"/>
      </a:accent2>
      <a:accent3>
        <a:srgbClr val="57AB27"/>
      </a:accent3>
      <a:accent4>
        <a:srgbClr val="BDCD00"/>
      </a:accent4>
      <a:accent5>
        <a:srgbClr val="612158"/>
      </a:accent5>
      <a:accent6>
        <a:srgbClr val="DC1969"/>
      </a:accent6>
      <a:hlink>
        <a:srgbClr val="5A5A5A"/>
      </a:hlink>
      <a:folHlink>
        <a:srgbClr val="5A5A5A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IR-Office-Design_2016" id="{5E75106B-0B22-40D4-9D8E-DF38FBB25344}" vid="{34AC0294-DD91-46FC-9EEF-3DAE6CD6CCA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293</Words>
  <Application>Microsoft Office PowerPoint</Application>
  <PresentationFormat>Benutzerdefiniert</PresentationFormat>
  <Paragraphs>44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9" baseType="lpstr">
      <vt:lpstr>Arial</vt:lpstr>
      <vt:lpstr>Calibri</vt:lpstr>
      <vt:lpstr>Symbol</vt:lpstr>
      <vt:lpstr>Wingdings</vt:lpstr>
      <vt:lpstr>FIR-Office-Design_2016</vt:lpstr>
      <vt:lpstr>think-cell Folie</vt:lpstr>
      <vt:lpstr>Konzept WAB-Arbeitskreis Digitale Transformation</vt:lpstr>
      <vt:lpstr>Der WAB-Arbeitskreis Digitale Transformation ist eine Plattform für Personen, die sich in ihrer täglichen Arbeit mit dem Thema Digitalisierung in der Windenenergie befassen</vt:lpstr>
      <vt:lpstr>Ziel des Arbeitskreis ist der aktive Austausch der Mitglieder, der Zugang zu aktuellem Wissen und dem Lernen auf hohem Niveau auf Basis von Best Practi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Optehostert, Felix</dc:creator>
  <cp:lastModifiedBy>Optehostert, Felix</cp:lastModifiedBy>
  <cp:revision>8</cp:revision>
  <dcterms:created xsi:type="dcterms:W3CDTF">2019-01-24T07:35:00Z</dcterms:created>
  <dcterms:modified xsi:type="dcterms:W3CDTF">2019-01-24T15:07:25Z</dcterms:modified>
</cp:coreProperties>
</file>